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3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4.xml" ContentType="application/vnd.openxmlformats-officedocument.them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theme/theme5.xml" ContentType="application/vnd.openxmlformats-officedocument.theme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theme/theme6.xml" ContentType="application/vnd.openxmlformats-officedocument.theme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heme/theme7.xml" ContentType="application/vnd.openxmlformats-officedocument.theme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51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14" r:id="rId2"/>
    <p:sldMasterId id="2147483782" r:id="rId3"/>
    <p:sldMasterId id="2147483848" r:id="rId4"/>
    <p:sldMasterId id="2147483914" r:id="rId5"/>
    <p:sldMasterId id="2147483981" r:id="rId6"/>
  </p:sldMasterIdLst>
  <p:notesMasterIdLst>
    <p:notesMasterId r:id="rId15"/>
  </p:notesMasterIdLst>
  <p:sldIdLst>
    <p:sldId id="2978" r:id="rId7"/>
    <p:sldId id="2974" r:id="rId8"/>
    <p:sldId id="2977" r:id="rId9"/>
    <p:sldId id="2985" r:id="rId10"/>
    <p:sldId id="2984" r:id="rId11"/>
    <p:sldId id="2975" r:id="rId12"/>
    <p:sldId id="2979" r:id="rId13"/>
    <p:sldId id="2980" r:id="rId14"/>
  </p:sldIdLst>
  <p:sldSz cx="12192000" cy="6858000"/>
  <p:notesSz cx="6797675" cy="9928225"/>
  <p:custDataLst>
    <p:tags r:id="rId16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50" userDrawn="1">
          <p15:clr>
            <a:srgbClr val="A4A3A4"/>
          </p15:clr>
        </p15:guide>
        <p15:guide id="2" pos="3727" userDrawn="1">
          <p15:clr>
            <a:srgbClr val="A4A3A4"/>
          </p15:clr>
        </p15:guide>
        <p15:guide id="3" pos="14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Жукенов Женис" initials="" lastIdx="1" clrIdx="0"/>
  <p:cmAuthor id="2" name="Анастасия Корнилова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5B9BD5"/>
    <a:srgbClr val="2488AC"/>
    <a:srgbClr val="ED7D31"/>
    <a:srgbClr val="D98410"/>
    <a:srgbClr val="34A288"/>
    <a:srgbClr val="EAB200"/>
    <a:srgbClr val="FDC500"/>
    <a:srgbClr val="38AF93"/>
    <a:srgbClr val="295E7E"/>
    <a:srgbClr val="589C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076" autoAdjust="0"/>
    <p:restoredTop sz="96404" autoAdjust="0"/>
  </p:normalViewPr>
  <p:slideViewPr>
    <p:cSldViewPr snapToGrid="0">
      <p:cViewPr varScale="1">
        <p:scale>
          <a:sx n="112" d="100"/>
          <a:sy n="112" d="100"/>
        </p:scale>
        <p:origin x="696" y="78"/>
      </p:cViewPr>
      <p:guideLst>
        <p:guide orient="horz" pos="2750"/>
        <p:guide pos="3727"/>
        <p:guide pos="14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1455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.korenev\Downloads\3-1)%20&#1054;&#1089;&#1085;&#1086;&#1074;&#1085;&#1099;&#1077;%20&#1080;&#1085;&#1076;&#1080;&#1082;&#1072;&#1090;&#1086;&#1088;&#1099;%20&#1088;&#1099;&#1085;&#1082;&#1072;%20&#1090;&#1088;&#1091;&#1076;&#1072;%20&#1079;&#1072;%202001-2018.xls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.xlsb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.korenev\Downloads\3-1)%20&#1054;&#1089;&#1085;&#1086;&#1074;&#1085;&#1099;&#1077;%20&#1080;&#1085;&#1076;&#1080;&#1082;&#1072;&#1090;&#1086;&#1088;&#1099;%20&#1088;&#1099;&#1085;&#1082;&#1072;%20&#1090;&#1088;&#1091;&#1076;&#1072;%20&#1079;&#1072;%202001-2018.xls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.korenev\Downloads\&#1048;&#1089;&#1093;&#1086;&#1076;&#1085;&#1080;&#1082;%20&#1040;&#1085;&#1072;&#1083;&#1080;&#1079;&#1072;%20&#1087;&#1086;&#1090;&#1088;&#1077;&#1073;&#1085;&#1086;&#1089;&#1090;&#1080;%20&#1074;%20&#1082;&#1072;&#1076;&#1088;&#1072;&#1093;%20&#1085;&#1072;%202021%20%2011.05.2021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.korenev\Downloads\3-1)%20&#1054;&#1089;&#1085;&#1086;&#1074;&#1085;&#1099;&#1077;%20&#1080;&#1085;&#1076;&#1080;&#1082;&#1072;&#1090;&#1086;&#1088;&#1099;%20&#1088;&#1099;&#1085;&#1082;&#1072;%20&#1090;&#1088;&#1091;&#1076;&#1072;%20&#1079;&#1072;%202001-2018.xls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.korenev\Desktop\&#1050;&#1086;&#1084;&#1080;&#1090;&#1077;&#1090;\&#1050;&#1086;&#1084;&#1080;&#1090;&#1077;&#1090;%20&#1089;&#1083;&#1072;&#1081;&#1076;&#1099;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.korenev\Downloads\&#1069;&#1082;&#1089;&#1090;&#1088;&#1072;&#1087;&#1086;&#1083;&#1103;&#1094;&#1080;&#1103;%202021%20&#1075;&#1086;&#1076;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.korenev\Desktop\&#1042;&#1099;&#1089;&#1090;&#1091;&#1087;&#1083;&#1077;&#1085;&#1080;&#1077;%20&#1087;&#1086;%20&#1087;&#1086;&#1090;&#1088;&#1077;&#1073;&#1085;&#1086;&#1089;&#1090;&#1080;\&#1057;&#1074;&#1086;&#1076;&#1085;&#1072;&#1103;%20&#1087;&#1086;&#1090;&#1088;&#1077;&#1073;&#1085;&#1086;&#1089;&#1090;&#1100;%2019.05%20&#1060;&#1080;&#1085;&#1080;&#1096;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[3-1) Основные индикаторы рынка труда за 2001-2018.xls]Занятость и безработица'!$A$48</c:f>
              <c:strCache>
                <c:ptCount val="1"/>
                <c:pt idx="0">
                  <c:v>2019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cat>
            <c:strRef>
              <c:f>'[3-1) Основные индикаторы рынка труда за 2001-2018.xls]Занятость и безработица'!$B$47:$D$47</c:f>
              <c:strCache>
                <c:ptCount val="3"/>
                <c:pt idx="0">
                  <c:v>Наемные работники, тыс. человек </c:v>
                </c:pt>
                <c:pt idx="1">
                  <c:v>Самостоятельно занятое, тыс. человек </c:v>
                </c:pt>
                <c:pt idx="2">
                  <c:v>Безработное население, тыс. человек  </c:v>
                </c:pt>
              </c:strCache>
            </c:strRef>
          </c:cat>
          <c:val>
            <c:numRef>
              <c:f>'[3-1) Основные индикаторы рынка труда за 2001-2018.xls]Занятость и безработица'!$B$48:$D$48</c:f>
              <c:numCache>
                <c:formatCode>#\ ##0.0</c:formatCode>
                <c:ptCount val="3"/>
                <c:pt idx="0">
                  <c:v>6681.58</c:v>
                </c:pt>
                <c:pt idx="1">
                  <c:v>2099.2489999999998</c:v>
                </c:pt>
                <c:pt idx="2">
                  <c:v>440.651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FB-4AA1-A94D-179C68919494}"/>
            </c:ext>
          </c:extLst>
        </c:ser>
        <c:ser>
          <c:idx val="1"/>
          <c:order val="1"/>
          <c:tx>
            <c:strRef>
              <c:f>'[3-1) Основные индикаторы рынка труда за 2001-2018.xls]Занятость и безработица'!$A$49</c:f>
              <c:strCache>
                <c:ptCount val="1"/>
                <c:pt idx="0">
                  <c:v>2020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cat>
            <c:strRef>
              <c:f>'[3-1) Основные индикаторы рынка труда за 2001-2018.xls]Занятость и безработица'!$B$47:$D$47</c:f>
              <c:strCache>
                <c:ptCount val="3"/>
                <c:pt idx="0">
                  <c:v>Наемные работники, тыс. человек </c:v>
                </c:pt>
                <c:pt idx="1">
                  <c:v>Самостоятельно занятое, тыс. человек </c:v>
                </c:pt>
                <c:pt idx="2">
                  <c:v>Безработное население, тыс. человек  </c:v>
                </c:pt>
              </c:strCache>
            </c:strRef>
          </c:cat>
          <c:val>
            <c:numRef>
              <c:f>'[3-1) Основные индикаторы рынка труда за 2001-2018.xls]Занятость и безработица'!$B$49:$D$49</c:f>
              <c:numCache>
                <c:formatCode>#\ ##0.0</c:formatCode>
                <c:ptCount val="3"/>
                <c:pt idx="0">
                  <c:v>6686.6660000000002</c:v>
                </c:pt>
                <c:pt idx="1">
                  <c:v>2045.374</c:v>
                </c:pt>
                <c:pt idx="2">
                  <c:v>448.805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5FB-4AA1-A94D-179C689194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68956632"/>
        <c:axId val="468957288"/>
      </c:barChart>
      <c:catAx>
        <c:axId val="4689566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8957288"/>
        <c:crosses val="autoZero"/>
        <c:auto val="1"/>
        <c:lblAlgn val="ctr"/>
        <c:lblOffset val="100"/>
        <c:noMultiLvlLbl val="0"/>
      </c:catAx>
      <c:valAx>
        <c:axId val="468957288"/>
        <c:scaling>
          <c:orientation val="minMax"/>
        </c:scaling>
        <c:delete val="1"/>
        <c:axPos val="b"/>
        <c:numFmt formatCode="#\ ##0.0" sourceLinked="1"/>
        <c:majorTickMark val="none"/>
        <c:minorTickMark val="none"/>
        <c:tickLblPos val="nextTo"/>
        <c:crossAx val="4689566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881403258505168"/>
          <c:y val="0.80803732866724975"/>
          <c:w val="0.38507678523605299"/>
          <c:h val="9.47404491105278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135135135135137E-2"/>
          <c:y val="3.6827195467422094E-2"/>
          <c:w val="0.92972972972972978"/>
          <c:h val="0.92634560906515584"/>
        </c:manualLayout>
      </c:layout>
      <c:barChart>
        <c:barDir val="bar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22976768"/>
        <c:axId val="222977160"/>
      </c:barChart>
      <c:catAx>
        <c:axId val="22297676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latin typeface="Trebuchet MS"/>
                <a:ea typeface="Trebuchet MS"/>
                <a:cs typeface="Trebuchet MS"/>
                <a:sym typeface="Trebuchet MS"/>
              </a:defRPr>
            </a:pPr>
            <a:endParaRPr lang="ru-RU"/>
          </a:p>
        </c:txPr>
        <c:crossAx val="222977160"/>
        <c:crosses val="min"/>
        <c:auto val="0"/>
        <c:lblAlgn val="ctr"/>
        <c:lblOffset val="100"/>
        <c:noMultiLvlLbl val="0"/>
      </c:catAx>
      <c:valAx>
        <c:axId val="222977160"/>
        <c:scaling>
          <c:orientation val="minMax"/>
          <c:max val="535734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222976768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explosion val="1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CD8-4689-9449-DEF7241791DF}"/>
              </c:ext>
            </c:extLst>
          </c:dPt>
          <c:dPt>
            <c:idx val="1"/>
            <c:bubble3D val="0"/>
            <c:spPr>
              <a:solidFill>
                <a:srgbClr val="295E7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CD8-4689-9449-DEF7241791DF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CD8-4689-9449-DEF7241791DF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CD8-4689-9449-DEF7241791DF}"/>
              </c:ext>
            </c:extLst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CD8-4689-9449-DEF7241791DF}"/>
              </c:ext>
            </c:extLst>
          </c:dPt>
          <c:dPt>
            <c:idx val="5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7CD8-4689-9449-DEF7241791DF}"/>
              </c:ext>
            </c:extLst>
          </c:dPt>
          <c:dLbls>
            <c:dLbl>
              <c:idx val="1"/>
              <c:layout>
                <c:manualLayout>
                  <c:x val="-8.8766504260911303E-2"/>
                  <c:y val="0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631455201178704"/>
                      <c:h val="0.1947222222222222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CD8-4689-9449-DEF7241791DF}"/>
                </c:ext>
              </c:extLst>
            </c:dLbl>
            <c:dLbl>
              <c:idx val="2"/>
              <c:layout>
                <c:manualLayout>
                  <c:x val="3.5873341225568796E-2"/>
                  <c:y val="0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208512619024933"/>
                      <c:h val="0.2851388888888888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7CD8-4689-9449-DEF7241791DF}"/>
                </c:ext>
              </c:extLst>
            </c:dLbl>
            <c:dLbl>
              <c:idx val="3"/>
              <c:layout>
                <c:manualLayout>
                  <c:x val="0.05"/>
                  <c:y val="6.481481481481481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7CD8-4689-9449-DEF7241791DF}"/>
                </c:ext>
              </c:extLst>
            </c:dLbl>
            <c:dLbl>
              <c:idx val="4"/>
              <c:layout>
                <c:manualLayout>
                  <c:x val="4.6604737764387769E-2"/>
                  <c:y val="0.1620370370370370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652333585005242"/>
                      <c:h val="0.2399307378244386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7CD8-4689-9449-DEF7241791D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[3-1) Основные индикаторы рынка труда за 2001-2018.xls]Занятость и безработица'!$B$78:$B$83</c:f>
              <c:strCache>
                <c:ptCount val="6"/>
                <c:pt idx="0">
                  <c:v>Торговля</c:v>
                </c:pt>
                <c:pt idx="1">
                  <c:v>Сельское, лесное и рыбное хозяйство</c:v>
                </c:pt>
                <c:pt idx="2">
                  <c:v>Предоставление прочих видов услуг (ремонт, химчистки, салоны красоты)</c:v>
                </c:pt>
                <c:pt idx="3">
                  <c:v>Обрабатывающая промышленность</c:v>
                </c:pt>
                <c:pt idx="4">
                  <c:v>Предоставление услуг по проживанию и питанию</c:v>
                </c:pt>
                <c:pt idx="5">
                  <c:v>прочие</c:v>
                </c:pt>
              </c:strCache>
            </c:strRef>
          </c:cat>
          <c:val>
            <c:numRef>
              <c:f>'[3-1) Основные индикаторы рынка труда за 2001-2018.xls]Занятость и безработица'!$C$78:$C$83</c:f>
              <c:numCache>
                <c:formatCode>#,##0</c:formatCode>
                <c:ptCount val="6"/>
                <c:pt idx="0">
                  <c:v>15933</c:v>
                </c:pt>
                <c:pt idx="1">
                  <c:v>12276</c:v>
                </c:pt>
                <c:pt idx="2">
                  <c:v>4697</c:v>
                </c:pt>
                <c:pt idx="3">
                  <c:v>4052</c:v>
                </c:pt>
                <c:pt idx="4">
                  <c:v>3534</c:v>
                </c:pt>
                <c:pt idx="5">
                  <c:v>99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CD8-4689-9449-DEF7241791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92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694962787185848E-2"/>
          <c:y val="0.17171278018259226"/>
          <c:w val="0.93888888888888888"/>
          <c:h val="0.7208876494604841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35 814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95FF-4EBF-A903-E77194E6321C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7 71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95FF-4EBF-A903-E77194E6321C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2 88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95FF-4EBF-A903-E77194E6321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Лист2!$T$2,Лист2!$V$2,Лист2!$X$2)</c:f>
              <c:strCache>
                <c:ptCount val="3"/>
                <c:pt idx="0">
                  <c:v>Потребность 2021 г.</c:v>
                </c:pt>
                <c:pt idx="1">
                  <c:v>Потребность 2022 г.</c:v>
                </c:pt>
                <c:pt idx="2">
                  <c:v>Потребность 2023 г.</c:v>
                </c:pt>
              </c:strCache>
            </c:strRef>
          </c:cat>
          <c:val>
            <c:numRef>
              <c:f>(Лист2!$T$20,Лист2!$V$20,Лист2!$X$20)</c:f>
              <c:numCache>
                <c:formatCode>#,##0</c:formatCode>
                <c:ptCount val="3"/>
                <c:pt idx="0">
                  <c:v>45492</c:v>
                </c:pt>
                <c:pt idx="1">
                  <c:v>33102</c:v>
                </c:pt>
                <c:pt idx="2">
                  <c:v>275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5FF-4EBF-A903-E77194E632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429251840"/>
        <c:axId val="429252824"/>
      </c:barChart>
      <c:catAx>
        <c:axId val="4292518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29252824"/>
        <c:crosses val="autoZero"/>
        <c:auto val="1"/>
        <c:lblAlgn val="ctr"/>
        <c:lblOffset val="100"/>
        <c:noMultiLvlLbl val="0"/>
      </c:catAx>
      <c:valAx>
        <c:axId val="429252824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429251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ED7D3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F00-4557-BC5E-627CE9B1642E}"/>
              </c:ext>
            </c:extLst>
          </c:dPt>
          <c:dPt>
            <c:idx val="1"/>
            <c:bubble3D val="0"/>
            <c:spPr>
              <a:solidFill>
                <a:srgbClr val="5B9BD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F00-4557-BC5E-627CE9B1642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F00-4557-BC5E-627CE9B1642E}"/>
              </c:ext>
            </c:extLst>
          </c:dPt>
          <c:dLbls>
            <c:dLbl>
              <c:idx val="0"/>
              <c:layout>
                <c:manualLayout>
                  <c:x val="-0.16576209798681202"/>
                  <c:y val="0.19571905028690006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2F00-4557-BC5E-627CE9B1642E}"/>
                </c:ext>
              </c:extLst>
            </c:dLbl>
            <c:dLbl>
              <c:idx val="1"/>
              <c:layout>
                <c:manualLayout>
                  <c:x val="-5.8095122620704522E-2"/>
                  <c:y val="-0.1820185930948727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2F00-4557-BC5E-627CE9B1642E}"/>
                </c:ext>
              </c:extLst>
            </c:dLbl>
            <c:dLbl>
              <c:idx val="2"/>
              <c:layout>
                <c:manualLayout>
                  <c:x val="0.1648155147008013"/>
                  <c:y val="0.1133391852725298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2F00-4557-BC5E-627CE9B1642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3-1) Основные индикаторы рынка труда за 2001-2018.xls]Занятость и безработица'!$B$101:$B$103</c:f>
              <c:strCache>
                <c:ptCount val="3"/>
                <c:pt idx="0">
                  <c:v>ВУЗ</c:v>
                </c:pt>
                <c:pt idx="1">
                  <c:v>ТиПО</c:v>
                </c:pt>
                <c:pt idx="2">
                  <c:v>Не требуется</c:v>
                </c:pt>
              </c:strCache>
            </c:strRef>
          </c:cat>
          <c:val>
            <c:numRef>
              <c:f>'[3-1) Основные индикаторы рынка труда за 2001-2018.xls]Занятость и безработица'!$C$101:$C$103</c:f>
              <c:numCache>
                <c:formatCode>General</c:formatCode>
                <c:ptCount val="3"/>
                <c:pt idx="0" formatCode="#,##0">
                  <c:v>7478</c:v>
                </c:pt>
                <c:pt idx="1">
                  <c:v>19112</c:v>
                </c:pt>
                <c:pt idx="2">
                  <c:v>92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F00-4557-BC5E-627CE9B1642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3A2-4655-9BB1-4B4E7EFBBF7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3A2-4655-9BB1-4B4E7EFBBF7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3A2-4655-9BB1-4B4E7EFBBF75}"/>
              </c:ext>
            </c:extLst>
          </c:dPt>
          <c:dLbls>
            <c:dLbl>
              <c:idx val="0"/>
              <c:layout>
                <c:manualLayout>
                  <c:x val="0.14620424721912187"/>
                  <c:y val="-8.6690460043100465E-2"/>
                </c:manualLayout>
              </c:layout>
              <c:tx>
                <c:rich>
                  <a:bodyPr/>
                  <a:lstStyle/>
                  <a:p>
                    <a:fld id="{60AE862A-DF5E-43D5-9B25-61FBC2711CBA}" type="CATEGORYNAME">
                      <a:rPr lang="ru-RU" b="0"/>
                      <a:pPr/>
                      <a:t>[ИМЯ КАТЕГОРИИ]</a:t>
                    </a:fld>
                    <a:r>
                      <a:rPr lang="ru-RU" baseline="0" dirty="0"/>
                      <a:t>
</a:t>
                    </a:r>
                    <a:fld id="{ABD7CC74-7F35-440D-A5D2-B0F3A73F3425}" type="PERCENTAGE">
                      <a:rPr lang="ru-RU" sz="1200" baseline="0"/>
                      <a:pPr/>
                      <a:t>[ПРОЦЕНТ]</a:t>
                    </a:fld>
                    <a:endParaRPr lang="ru-RU" baseline="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23A2-4655-9BB1-4B4E7EFBBF75}"/>
                </c:ext>
              </c:extLst>
            </c:dLbl>
            <c:dLbl>
              <c:idx val="1"/>
              <c:layout>
                <c:manualLayout>
                  <c:x val="-9.7104601584463823E-2"/>
                  <c:y val="0.14214003995287608"/>
                </c:manualLayout>
              </c:layout>
              <c:tx>
                <c:rich>
                  <a:bodyPr/>
                  <a:lstStyle/>
                  <a:p>
                    <a:fld id="{4FEF0893-A29E-4728-AF32-D147B4348AC2}" type="CATEGORYNAME">
                      <a:rPr lang="ru-RU" b="0"/>
                      <a:pPr/>
                      <a:t>[ИМЯ КАТЕГОРИИ]</a:t>
                    </a:fld>
                    <a:r>
                      <a:rPr lang="ru-RU" baseline="0" dirty="0"/>
                      <a:t>
</a:t>
                    </a:r>
                    <a:fld id="{3AFC30F3-6BB0-40B5-B0D1-E00BD1CD4ABC}" type="PERCENTAGE">
                      <a:rPr lang="ru-RU" sz="1200" baseline="0"/>
                      <a:pPr/>
                      <a:t>[ПРОЦЕНТ]</a:t>
                    </a:fld>
                    <a:endParaRPr lang="ru-RU" baseline="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23A2-4655-9BB1-4B4E7EFBBF75}"/>
                </c:ext>
              </c:extLst>
            </c:dLbl>
            <c:dLbl>
              <c:idx val="2"/>
              <c:layout>
                <c:manualLayout>
                  <c:x val="-0.20608089309914804"/>
                  <c:y val="-0.15283938602332298"/>
                </c:manualLayout>
              </c:layout>
              <c:tx>
                <c:rich>
                  <a:bodyPr/>
                  <a:lstStyle/>
                  <a:p>
                    <a:fld id="{5AD6D6B7-D487-486E-B971-DB3B3A3BFAB1}" type="CATEGORYNAME">
                      <a:rPr lang="ru-RU" b="0"/>
                      <a:pPr/>
                      <a:t>[ИМЯ КАТЕГОРИИ]</a:t>
                    </a:fld>
                    <a:r>
                      <a:rPr lang="ru-RU" baseline="0" dirty="0"/>
                      <a:t>
</a:t>
                    </a:r>
                    <a:fld id="{231AF718-C796-4E7F-AA5C-1A669B7F8472}" type="PERCENTAGE">
                      <a:rPr lang="ru-RU" sz="1200" baseline="0"/>
                      <a:pPr/>
                      <a:t>[ПРОЦЕНТ]</a:t>
                    </a:fld>
                    <a:endParaRPr lang="ru-RU" baseline="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324920490998134"/>
                      <c:h val="0.4795487998372925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23A2-4655-9BB1-4B4E7EFBBF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4B78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D$9:$D$11</c:f>
              <c:strCache>
                <c:ptCount val="3"/>
                <c:pt idx="0">
                  <c:v>ТИПО</c:v>
                </c:pt>
                <c:pt idx="1">
                  <c:v>ВУЗ</c:v>
                </c:pt>
                <c:pt idx="2">
                  <c:v>Не требуется образование</c:v>
                </c:pt>
              </c:strCache>
            </c:strRef>
          </c:cat>
          <c:val>
            <c:numRef>
              <c:f>Лист1!$E$9:$E$11</c:f>
              <c:numCache>
                <c:formatCode>General</c:formatCode>
                <c:ptCount val="3"/>
                <c:pt idx="0">
                  <c:v>54</c:v>
                </c:pt>
                <c:pt idx="1">
                  <c:v>14</c:v>
                </c:pt>
                <c:pt idx="2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3A2-4655-9BB1-4B4E7EFBBF7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168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Экстраполяция 2021 год.xlsx]Экстаполяция 2021 г. по ВЭД'!$C$24:$D$24</c:f>
              <c:strCache>
                <c:ptCount val="2"/>
                <c:pt idx="0">
                  <c:v>2019 год</c:v>
                </c:pt>
                <c:pt idx="1">
                  <c:v>2021 год</c:v>
                </c:pt>
              </c:strCache>
            </c:strRef>
          </c:cat>
          <c:val>
            <c:numRef>
              <c:f>'[Экстраполяция 2021 год.xlsx]Экстаполяция 2021 г. по ВЭД'!$C$25:$D$25</c:f>
              <c:numCache>
                <c:formatCode>0</c:formatCode>
                <c:ptCount val="2"/>
                <c:pt idx="0">
                  <c:v>215358.35</c:v>
                </c:pt>
                <c:pt idx="1">
                  <c:v>50497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74-4E85-9E70-2D8A4BDCAB3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51170456"/>
        <c:axId val="551167832"/>
      </c:barChart>
      <c:catAx>
        <c:axId val="551170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51167832"/>
        <c:crosses val="autoZero"/>
        <c:auto val="1"/>
        <c:lblAlgn val="ctr"/>
        <c:lblOffset val="100"/>
        <c:noMultiLvlLbl val="0"/>
      </c:catAx>
      <c:valAx>
        <c:axId val="551167832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55117045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3!$L$29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3!$K$30:$K$37</c:f>
              <c:strCache>
                <c:ptCount val="8"/>
                <c:pt idx="0">
                  <c:v>ФИНАНСЫ И СТРАХОВАНИЕ</c:v>
                </c:pt>
                <c:pt idx="1">
                  <c:v>ЗДРАВООХРАНЕНИЕ </c:v>
                </c:pt>
                <c:pt idx="2">
                  <c:v>ТРАНСПОРТ И СКЛАДИРОВАНИЕ </c:v>
                </c:pt>
                <c:pt idx="3">
                  <c:v>ОБРАЗОВАНИЕ </c:v>
                </c:pt>
                <c:pt idx="4">
                  <c:v>СЕЛЬСКОЕ ХОЗЯЙСТВО </c:v>
                </c:pt>
                <c:pt idx="5">
                  <c:v>ПРОЧИЕ ИНДИВИДУАЛЬНЫЕ УСЛУГИ </c:v>
                </c:pt>
                <c:pt idx="6">
                  <c:v>ТОРГОВЛЯ </c:v>
                </c:pt>
                <c:pt idx="7">
                  <c:v>СТРОИТЕЛЬСТВО </c:v>
                </c:pt>
              </c:strCache>
            </c:strRef>
          </c:cat>
          <c:val>
            <c:numRef>
              <c:f>Лист13!$L$30:$L$37</c:f>
              <c:numCache>
                <c:formatCode>0%</c:formatCode>
                <c:ptCount val="8"/>
                <c:pt idx="0">
                  <c:v>3.7448745312173869E-2</c:v>
                </c:pt>
                <c:pt idx="1">
                  <c:v>2.7867737656793897E-2</c:v>
                </c:pt>
                <c:pt idx="2">
                  <c:v>5.0793479797741764E-2</c:v>
                </c:pt>
                <c:pt idx="3">
                  <c:v>9.4288426708321271E-2</c:v>
                </c:pt>
                <c:pt idx="4">
                  <c:v>0.17333342310618557</c:v>
                </c:pt>
                <c:pt idx="5">
                  <c:v>0.35152804616120065</c:v>
                </c:pt>
                <c:pt idx="6">
                  <c:v>4.9621944076001699E-2</c:v>
                </c:pt>
                <c:pt idx="7">
                  <c:v>8.548844286743467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F6-42A2-9834-B71C01FB6E98}"/>
            </c:ext>
          </c:extLst>
        </c:ser>
        <c:ser>
          <c:idx val="1"/>
          <c:order val="1"/>
          <c:tx>
            <c:strRef>
              <c:f>Лист13!$M$29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3!$K$30:$K$37</c:f>
              <c:strCache>
                <c:ptCount val="8"/>
                <c:pt idx="0">
                  <c:v>ФИНАНСЫ И СТРАХОВАНИЕ</c:v>
                </c:pt>
                <c:pt idx="1">
                  <c:v>ЗДРАВООХРАНЕНИЕ </c:v>
                </c:pt>
                <c:pt idx="2">
                  <c:v>ТРАНСПОРТ И СКЛАДИРОВАНИЕ </c:v>
                </c:pt>
                <c:pt idx="3">
                  <c:v>ОБРАЗОВАНИЕ </c:v>
                </c:pt>
                <c:pt idx="4">
                  <c:v>СЕЛЬСКОЕ ХОЗЯЙСТВО </c:v>
                </c:pt>
                <c:pt idx="5">
                  <c:v>ПРОЧИЕ ИНДИВИДУАЛЬНЫЕ УСЛУГИ </c:v>
                </c:pt>
                <c:pt idx="6">
                  <c:v>ТОРГОВЛЯ </c:v>
                </c:pt>
                <c:pt idx="7">
                  <c:v>СТРОИТЕЛЬСТВО </c:v>
                </c:pt>
              </c:strCache>
            </c:strRef>
          </c:cat>
          <c:val>
            <c:numRef>
              <c:f>Лист13!$M$30:$M$37</c:f>
              <c:numCache>
                <c:formatCode>0.0%</c:formatCode>
                <c:ptCount val="8"/>
                <c:pt idx="0">
                  <c:v>7.0000000000000001E-3</c:v>
                </c:pt>
                <c:pt idx="1">
                  <c:v>4.4999999999999998E-2</c:v>
                </c:pt>
                <c:pt idx="2">
                  <c:v>4.8000000000000001E-2</c:v>
                </c:pt>
                <c:pt idx="3">
                  <c:v>7.4999999999999997E-2</c:v>
                </c:pt>
                <c:pt idx="4">
                  <c:v>0.10100000000000001</c:v>
                </c:pt>
                <c:pt idx="5">
                  <c:v>0.12109789467805886</c:v>
                </c:pt>
                <c:pt idx="6">
                  <c:v>0.13600000000000001</c:v>
                </c:pt>
                <c:pt idx="7">
                  <c:v>0.19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F6-42A2-9834-B71C01FB6E9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204248704"/>
        <c:axId val="204249360"/>
      </c:barChart>
      <c:catAx>
        <c:axId val="2042487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4249360"/>
        <c:crosses val="autoZero"/>
        <c:auto val="1"/>
        <c:lblAlgn val="ctr"/>
        <c:lblOffset val="100"/>
        <c:noMultiLvlLbl val="0"/>
      </c:catAx>
      <c:valAx>
        <c:axId val="204249360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2042487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543109348267799"/>
          <c:y val="0.8524300087489064"/>
          <c:w val="0.23441173808652083"/>
          <c:h val="7.81255468066491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0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396C5112-B4C3-4DDC-8798-0D861F5291A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6400" cy="498554"/>
          </a:xfrm>
          <a:prstGeom prst="rect">
            <a:avLst/>
          </a:prstGeom>
        </p:spPr>
        <p:txBody>
          <a:bodyPr vert="horz" lIns="91276" tIns="45636" rIns="91276" bIns="45636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C3662A6-76A5-4E90-BCE1-E96A90B65A0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2"/>
            <a:ext cx="2946400" cy="498554"/>
          </a:xfrm>
          <a:prstGeom prst="rect">
            <a:avLst/>
          </a:prstGeom>
        </p:spPr>
        <p:txBody>
          <a:bodyPr vert="horz" lIns="91276" tIns="45636" rIns="91276" bIns="45636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A49C0219-6B3E-4263-A194-1E52907B4278}" type="datetimeFigureOut">
              <a:rPr lang="en-US"/>
              <a:pPr>
                <a:defRPr/>
              </a:pPr>
              <a:t>5/25/2021</a:t>
            </a:fld>
            <a:endParaRPr lang="en-US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id="{B3F8D6B7-347D-4F6F-B669-1CC09A909F8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76" tIns="45636" rIns="91276" bIns="45636" rtlCol="0" anchor="ctr"/>
          <a:lstStyle/>
          <a:p>
            <a:pPr lvl="0"/>
            <a:endParaRPr lang="en-US" noProof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id="{D2ECC429-C13B-4D97-B265-5517D3C49F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1" y="4779140"/>
            <a:ext cx="5438775" cy="3907463"/>
          </a:xfrm>
          <a:prstGeom prst="rect">
            <a:avLst/>
          </a:prstGeom>
        </p:spPr>
        <p:txBody>
          <a:bodyPr vert="horz" lIns="91276" tIns="45636" rIns="91276" bIns="45636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en-US" noProof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CD08CE4-1E45-45B3-B8F2-D084C234409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" y="9429671"/>
            <a:ext cx="2946400" cy="498554"/>
          </a:xfrm>
          <a:prstGeom prst="rect">
            <a:avLst/>
          </a:prstGeom>
        </p:spPr>
        <p:txBody>
          <a:bodyPr vert="horz" lIns="91276" tIns="45636" rIns="91276" bIns="45636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A17D4E9-0AF5-415F-8604-6A4C7D7F29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9671"/>
            <a:ext cx="2946400" cy="498554"/>
          </a:xfrm>
          <a:prstGeom prst="rect">
            <a:avLst/>
          </a:prstGeom>
        </p:spPr>
        <p:txBody>
          <a:bodyPr vert="horz" wrap="square" lIns="91276" tIns="45636" rIns="91276" bIns="45636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96FFDB29-8E07-4879-861A-6BCE73CF227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4883657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E31701-6B3C-4B8D-A58A-9D65CC88676F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77159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2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7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9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1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7" Type="http://schemas.openxmlformats.org/officeDocument/2006/relationships/image" Target="../media/image8.png"/><Relationship Id="rId2" Type="http://schemas.openxmlformats.org/officeDocument/2006/relationships/tags" Target="../tags/tag152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4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6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7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0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8.bin"/><Relationship Id="rId3" Type="http://schemas.openxmlformats.org/officeDocument/2006/relationships/tags" Target="../tags/tag17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45.vml"/><Relationship Id="rId6" Type="http://schemas.openxmlformats.org/officeDocument/2006/relationships/tags" Target="../tags/tag173.xml"/><Relationship Id="rId5" Type="http://schemas.openxmlformats.org/officeDocument/2006/relationships/tags" Target="../tags/tag172.xml"/><Relationship Id="rId4" Type="http://schemas.openxmlformats.org/officeDocument/2006/relationships/tags" Target="../tags/tag171.xml"/><Relationship Id="rId9" Type="http://schemas.openxmlformats.org/officeDocument/2006/relationships/image" Target="../media/image2.emf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75.xml"/><Relationship Id="rId7" Type="http://schemas.openxmlformats.org/officeDocument/2006/relationships/oleObject" Target="../embeddings/oleObject49.bin"/><Relationship Id="rId2" Type="http://schemas.openxmlformats.org/officeDocument/2006/relationships/tags" Target="../tags/tag174.xml"/><Relationship Id="rId1" Type="http://schemas.openxmlformats.org/officeDocument/2006/relationships/vmlDrawing" Target="../drawings/vmlDrawing46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77.xml"/><Relationship Id="rId4" Type="http://schemas.openxmlformats.org/officeDocument/2006/relationships/tags" Target="../tags/tag176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79.xml"/><Relationship Id="rId7" Type="http://schemas.openxmlformats.org/officeDocument/2006/relationships/oleObject" Target="../embeddings/oleObject50.bin"/><Relationship Id="rId2" Type="http://schemas.openxmlformats.org/officeDocument/2006/relationships/tags" Target="../tags/tag178.xml"/><Relationship Id="rId1" Type="http://schemas.openxmlformats.org/officeDocument/2006/relationships/vmlDrawing" Target="../drawings/vmlDrawing47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81.xml"/><Relationship Id="rId4" Type="http://schemas.openxmlformats.org/officeDocument/2006/relationships/tags" Target="../tags/tag180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7" Type="http://schemas.openxmlformats.org/officeDocument/2006/relationships/image" Target="../media/image7.png"/><Relationship Id="rId2" Type="http://schemas.openxmlformats.org/officeDocument/2006/relationships/tags" Target="../tags/tag182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49.vml"/><Relationship Id="rId6" Type="http://schemas.openxmlformats.org/officeDocument/2006/relationships/tags" Target="../tags/tag188.xml"/><Relationship Id="rId11" Type="http://schemas.openxmlformats.org/officeDocument/2006/relationships/oleObject" Target="../embeddings/oleObject53.bin"/><Relationship Id="rId5" Type="http://schemas.openxmlformats.org/officeDocument/2006/relationships/tags" Target="../tags/tag187.xml"/><Relationship Id="rId10" Type="http://schemas.openxmlformats.org/officeDocument/2006/relationships/image" Target="../media/image2.emf"/><Relationship Id="rId4" Type="http://schemas.openxmlformats.org/officeDocument/2006/relationships/tags" Target="../tags/tag186.xml"/><Relationship Id="rId9" Type="http://schemas.openxmlformats.org/officeDocument/2006/relationships/oleObject" Target="../embeddings/oleObject5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4.bin"/><Relationship Id="rId3" Type="http://schemas.openxmlformats.org/officeDocument/2006/relationships/tags" Target="../tags/tag19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50.vml"/><Relationship Id="rId6" Type="http://schemas.openxmlformats.org/officeDocument/2006/relationships/tags" Target="../tags/tag194.xml"/><Relationship Id="rId5" Type="http://schemas.openxmlformats.org/officeDocument/2006/relationships/tags" Target="../tags/tag193.xml"/><Relationship Id="rId10" Type="http://schemas.openxmlformats.org/officeDocument/2006/relationships/oleObject" Target="../embeddings/oleObject55.bin"/><Relationship Id="rId4" Type="http://schemas.openxmlformats.org/officeDocument/2006/relationships/tags" Target="../tags/tag192.xml"/><Relationship Id="rId9" Type="http://schemas.openxmlformats.org/officeDocument/2006/relationships/image" Target="../media/image2.emf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6.bin"/><Relationship Id="rId3" Type="http://schemas.openxmlformats.org/officeDocument/2006/relationships/tags" Target="../tags/tag19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51.vml"/><Relationship Id="rId6" Type="http://schemas.openxmlformats.org/officeDocument/2006/relationships/tags" Target="../tags/tag199.xml"/><Relationship Id="rId5" Type="http://schemas.openxmlformats.org/officeDocument/2006/relationships/tags" Target="../tags/tag198.xml"/><Relationship Id="rId10" Type="http://schemas.openxmlformats.org/officeDocument/2006/relationships/oleObject" Target="../embeddings/oleObject57.bin"/><Relationship Id="rId4" Type="http://schemas.openxmlformats.org/officeDocument/2006/relationships/tags" Target="../tags/tag197.xml"/><Relationship Id="rId9" Type="http://schemas.openxmlformats.org/officeDocument/2006/relationships/image" Target="../media/image2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7" Type="http://schemas.openxmlformats.org/officeDocument/2006/relationships/image" Target="../media/image7.png"/><Relationship Id="rId2" Type="http://schemas.openxmlformats.org/officeDocument/2006/relationships/tags" Target="../tags/tag200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8.png"/><Relationship Id="rId2" Type="http://schemas.openxmlformats.org/officeDocument/2006/relationships/tags" Target="../tags/tag202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0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1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2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6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7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8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9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1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3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tags" Target="../tags/tag225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6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9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tags" Target="../tags/tag231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tags" Target="../tags/tag235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tags" Target="../tags/tag237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0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1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2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3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5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6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7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8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9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0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7" Type="http://schemas.openxmlformats.org/officeDocument/2006/relationships/image" Target="../media/image8.png"/><Relationship Id="rId2" Type="http://schemas.openxmlformats.org/officeDocument/2006/relationships/tags" Target="../tags/tag251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3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6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tags" Target="../tags/tag258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9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0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1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0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6.bin"/><Relationship Id="rId3" Type="http://schemas.openxmlformats.org/officeDocument/2006/relationships/tags" Target="../tags/tag26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68.xml"/><Relationship Id="rId1" Type="http://schemas.openxmlformats.org/officeDocument/2006/relationships/vmlDrawing" Target="../drawings/vmlDrawing70.vml"/><Relationship Id="rId6" Type="http://schemas.openxmlformats.org/officeDocument/2006/relationships/tags" Target="../tags/tag272.xml"/><Relationship Id="rId5" Type="http://schemas.openxmlformats.org/officeDocument/2006/relationships/tags" Target="../tags/tag271.xml"/><Relationship Id="rId4" Type="http://schemas.openxmlformats.org/officeDocument/2006/relationships/tags" Target="../tags/tag270.xml"/><Relationship Id="rId9" Type="http://schemas.openxmlformats.org/officeDocument/2006/relationships/image" Target="../media/image2.emf"/></Relationships>
</file>

<file path=ppt/slideLayouts/_rels/slideLayout2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74.xml"/><Relationship Id="rId7" Type="http://schemas.openxmlformats.org/officeDocument/2006/relationships/oleObject" Target="../embeddings/oleObject77.bin"/><Relationship Id="rId2" Type="http://schemas.openxmlformats.org/officeDocument/2006/relationships/tags" Target="../tags/tag273.xml"/><Relationship Id="rId1" Type="http://schemas.openxmlformats.org/officeDocument/2006/relationships/vmlDrawing" Target="../drawings/vmlDrawing71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276.xml"/><Relationship Id="rId4" Type="http://schemas.openxmlformats.org/officeDocument/2006/relationships/tags" Target="../tags/tag275.xml"/></Relationships>
</file>

<file path=ppt/slideLayouts/_rels/slideLayout2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78.xml"/><Relationship Id="rId7" Type="http://schemas.openxmlformats.org/officeDocument/2006/relationships/oleObject" Target="../embeddings/oleObject78.bin"/><Relationship Id="rId2" Type="http://schemas.openxmlformats.org/officeDocument/2006/relationships/tags" Target="../tags/tag277.xml"/><Relationship Id="rId1" Type="http://schemas.openxmlformats.org/officeDocument/2006/relationships/vmlDrawing" Target="../drawings/vmlDrawing72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280.xml"/><Relationship Id="rId4" Type="http://schemas.openxmlformats.org/officeDocument/2006/relationships/tags" Target="../tags/tag279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tags" Target="../tags/tag282.xml"/><Relationship Id="rId7" Type="http://schemas.openxmlformats.org/officeDocument/2006/relationships/image" Target="../media/image7.png"/><Relationship Id="rId2" Type="http://schemas.openxmlformats.org/officeDocument/2006/relationships/tags" Target="../tags/tag281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284.xml"/><Relationship Id="rId7" Type="http://schemas.openxmlformats.org/officeDocument/2006/relationships/tags" Target="../tags/tag288.xml"/><Relationship Id="rId2" Type="http://schemas.openxmlformats.org/officeDocument/2006/relationships/tags" Target="../tags/tag283.xml"/><Relationship Id="rId1" Type="http://schemas.openxmlformats.org/officeDocument/2006/relationships/vmlDrawing" Target="../drawings/vmlDrawing74.vml"/><Relationship Id="rId6" Type="http://schemas.openxmlformats.org/officeDocument/2006/relationships/tags" Target="../tags/tag287.xml"/><Relationship Id="rId11" Type="http://schemas.openxmlformats.org/officeDocument/2006/relationships/oleObject" Target="../embeddings/oleObject81.bin"/><Relationship Id="rId5" Type="http://schemas.openxmlformats.org/officeDocument/2006/relationships/tags" Target="../tags/tag286.xml"/><Relationship Id="rId10" Type="http://schemas.openxmlformats.org/officeDocument/2006/relationships/image" Target="../media/image2.emf"/><Relationship Id="rId4" Type="http://schemas.openxmlformats.org/officeDocument/2006/relationships/tags" Target="../tags/tag285.xml"/><Relationship Id="rId9" Type="http://schemas.openxmlformats.org/officeDocument/2006/relationships/oleObject" Target="../embeddings/oleObject80.bin"/></Relationships>
</file>

<file path=ppt/slideLayouts/_rels/slideLayout20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2.bin"/><Relationship Id="rId3" Type="http://schemas.openxmlformats.org/officeDocument/2006/relationships/tags" Target="../tags/tag290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75.vml"/><Relationship Id="rId6" Type="http://schemas.openxmlformats.org/officeDocument/2006/relationships/tags" Target="../tags/tag293.xml"/><Relationship Id="rId5" Type="http://schemas.openxmlformats.org/officeDocument/2006/relationships/tags" Target="../tags/tag292.xml"/><Relationship Id="rId10" Type="http://schemas.openxmlformats.org/officeDocument/2006/relationships/oleObject" Target="../embeddings/oleObject83.bin"/><Relationship Id="rId4" Type="http://schemas.openxmlformats.org/officeDocument/2006/relationships/tags" Target="../tags/tag291.xml"/><Relationship Id="rId9" Type="http://schemas.openxmlformats.org/officeDocument/2006/relationships/image" Target="../media/image2.emf"/></Relationships>
</file>

<file path=ppt/slideLayouts/_rels/slideLayout20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4.bin"/><Relationship Id="rId3" Type="http://schemas.openxmlformats.org/officeDocument/2006/relationships/tags" Target="../tags/tag295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94.xml"/><Relationship Id="rId1" Type="http://schemas.openxmlformats.org/officeDocument/2006/relationships/vmlDrawing" Target="../drawings/vmlDrawing76.vml"/><Relationship Id="rId6" Type="http://schemas.openxmlformats.org/officeDocument/2006/relationships/tags" Target="../tags/tag298.xml"/><Relationship Id="rId5" Type="http://schemas.openxmlformats.org/officeDocument/2006/relationships/tags" Target="../tags/tag297.xml"/><Relationship Id="rId10" Type="http://schemas.openxmlformats.org/officeDocument/2006/relationships/oleObject" Target="../embeddings/oleObject85.bin"/><Relationship Id="rId4" Type="http://schemas.openxmlformats.org/officeDocument/2006/relationships/tags" Target="../tags/tag296.xml"/><Relationship Id="rId9" Type="http://schemas.openxmlformats.org/officeDocument/2006/relationships/image" Target="../media/image2.emf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7" Type="http://schemas.openxmlformats.org/officeDocument/2006/relationships/image" Target="../media/image7.png"/><Relationship Id="rId2" Type="http://schemas.openxmlformats.org/officeDocument/2006/relationships/tags" Target="../tags/tag299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tags" Target="../tags/tag302.xml"/><Relationship Id="rId7" Type="http://schemas.openxmlformats.org/officeDocument/2006/relationships/image" Target="../media/image8.png"/><Relationship Id="rId2" Type="http://schemas.openxmlformats.org/officeDocument/2006/relationships/tags" Target="../tags/tag301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tags" Target="../tags/tag305.xml"/><Relationship Id="rId2" Type="http://schemas.openxmlformats.org/officeDocument/2006/relationships/tags" Target="../tags/tag304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tags" Target="../tags/tag307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9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0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1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2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3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5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6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7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8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9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0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1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2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2" Type="http://schemas.openxmlformats.org/officeDocument/2006/relationships/tags" Target="../tags/tag32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5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tags" Target="../tags/tag327.xml"/><Relationship Id="rId2" Type="http://schemas.openxmlformats.org/officeDocument/2006/relationships/tags" Target="../tags/tag326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8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tags" Target="../tags/tag330.xml"/><Relationship Id="rId2" Type="http://schemas.openxmlformats.org/officeDocument/2006/relationships/tags" Target="../tags/tag329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tags" Target="../tags/tag332.xml"/><Relationship Id="rId2" Type="http://schemas.openxmlformats.org/officeDocument/2006/relationships/tags" Target="../tags/tag331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png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tags" Target="../tags/tag334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tags" Target="../tags/tag336.xml"/><Relationship Id="rId2" Type="http://schemas.openxmlformats.org/officeDocument/2006/relationships/tags" Target="../tags/tag335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tags" Target="../tags/tag338.xml"/><Relationship Id="rId2" Type="http://schemas.openxmlformats.org/officeDocument/2006/relationships/tags" Target="../tags/tag337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39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8.bin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0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1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2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3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4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5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6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7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9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tags" Target="../tags/tag351.xml"/><Relationship Id="rId7" Type="http://schemas.openxmlformats.org/officeDocument/2006/relationships/image" Target="../media/image8.png"/><Relationship Id="rId2" Type="http://schemas.openxmlformats.org/officeDocument/2006/relationships/tags" Target="../tags/tag35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2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3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4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5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tags" Target="../tags/tag357.xml"/><Relationship Id="rId2" Type="http://schemas.openxmlformats.org/officeDocument/2006/relationships/tags" Target="../tags/tag356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8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9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0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tags" Target="../tags/tag362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tags" Target="../tags/tag364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tags" Target="../tags/tag366.xml"/><Relationship Id="rId2" Type="http://schemas.openxmlformats.org/officeDocument/2006/relationships/tags" Target="../tags/tag365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4.bin"/><Relationship Id="rId3" Type="http://schemas.openxmlformats.org/officeDocument/2006/relationships/tags" Target="../tags/tag368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67.xml"/><Relationship Id="rId1" Type="http://schemas.openxmlformats.org/officeDocument/2006/relationships/vmlDrawing" Target="../drawings/vmlDrawing95.vml"/><Relationship Id="rId6" Type="http://schemas.openxmlformats.org/officeDocument/2006/relationships/tags" Target="../tags/tag371.xml"/><Relationship Id="rId5" Type="http://schemas.openxmlformats.org/officeDocument/2006/relationships/tags" Target="../tags/tag370.xml"/><Relationship Id="rId4" Type="http://schemas.openxmlformats.org/officeDocument/2006/relationships/tags" Target="../tags/tag369.xml"/><Relationship Id="rId9" Type="http://schemas.openxmlformats.org/officeDocument/2006/relationships/image" Target="../media/image2.emf"/></Relationships>
</file>

<file path=ppt/slideLayouts/_rels/slideLayout2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73.xml"/><Relationship Id="rId7" Type="http://schemas.openxmlformats.org/officeDocument/2006/relationships/oleObject" Target="../embeddings/oleObject105.bin"/><Relationship Id="rId2" Type="http://schemas.openxmlformats.org/officeDocument/2006/relationships/tags" Target="../tags/tag372.xml"/><Relationship Id="rId1" Type="http://schemas.openxmlformats.org/officeDocument/2006/relationships/vmlDrawing" Target="../drawings/vmlDrawing96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75.xml"/><Relationship Id="rId4" Type="http://schemas.openxmlformats.org/officeDocument/2006/relationships/tags" Target="../tags/tag374.xml"/></Relationships>
</file>

<file path=ppt/slideLayouts/_rels/slideLayout2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77.xml"/><Relationship Id="rId7" Type="http://schemas.openxmlformats.org/officeDocument/2006/relationships/oleObject" Target="../embeddings/oleObject106.bin"/><Relationship Id="rId2" Type="http://schemas.openxmlformats.org/officeDocument/2006/relationships/tags" Target="../tags/tag376.xml"/><Relationship Id="rId1" Type="http://schemas.openxmlformats.org/officeDocument/2006/relationships/vmlDrawing" Target="../drawings/vmlDrawing97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79.xml"/><Relationship Id="rId4" Type="http://schemas.openxmlformats.org/officeDocument/2006/relationships/tags" Target="../tags/tag378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tags" Target="../tags/tag381.xml"/><Relationship Id="rId7" Type="http://schemas.openxmlformats.org/officeDocument/2006/relationships/image" Target="../media/image7.png"/><Relationship Id="rId2" Type="http://schemas.openxmlformats.org/officeDocument/2006/relationships/tags" Target="../tags/tag380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383.xml"/><Relationship Id="rId7" Type="http://schemas.openxmlformats.org/officeDocument/2006/relationships/tags" Target="../tags/tag387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99.vml"/><Relationship Id="rId6" Type="http://schemas.openxmlformats.org/officeDocument/2006/relationships/tags" Target="../tags/tag386.xml"/><Relationship Id="rId11" Type="http://schemas.openxmlformats.org/officeDocument/2006/relationships/oleObject" Target="../embeddings/oleObject109.bin"/><Relationship Id="rId5" Type="http://schemas.openxmlformats.org/officeDocument/2006/relationships/tags" Target="../tags/tag385.xml"/><Relationship Id="rId10" Type="http://schemas.openxmlformats.org/officeDocument/2006/relationships/image" Target="../media/image2.emf"/><Relationship Id="rId4" Type="http://schemas.openxmlformats.org/officeDocument/2006/relationships/tags" Target="../tags/tag384.xml"/><Relationship Id="rId9" Type="http://schemas.openxmlformats.org/officeDocument/2006/relationships/oleObject" Target="../embeddings/oleObject10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2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0.bin"/><Relationship Id="rId3" Type="http://schemas.openxmlformats.org/officeDocument/2006/relationships/tags" Target="../tags/tag389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88.xml"/><Relationship Id="rId1" Type="http://schemas.openxmlformats.org/officeDocument/2006/relationships/vmlDrawing" Target="../drawings/vmlDrawing100.vml"/><Relationship Id="rId6" Type="http://schemas.openxmlformats.org/officeDocument/2006/relationships/tags" Target="../tags/tag392.xml"/><Relationship Id="rId5" Type="http://schemas.openxmlformats.org/officeDocument/2006/relationships/tags" Target="../tags/tag391.xml"/><Relationship Id="rId10" Type="http://schemas.openxmlformats.org/officeDocument/2006/relationships/oleObject" Target="../embeddings/oleObject111.bin"/><Relationship Id="rId4" Type="http://schemas.openxmlformats.org/officeDocument/2006/relationships/tags" Target="../tags/tag390.xml"/><Relationship Id="rId9" Type="http://schemas.openxmlformats.org/officeDocument/2006/relationships/image" Target="../media/image2.emf"/></Relationships>
</file>

<file path=ppt/slideLayouts/_rels/slideLayout27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2.bin"/><Relationship Id="rId3" Type="http://schemas.openxmlformats.org/officeDocument/2006/relationships/tags" Target="../tags/tag394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93.xml"/><Relationship Id="rId1" Type="http://schemas.openxmlformats.org/officeDocument/2006/relationships/vmlDrawing" Target="../drawings/vmlDrawing101.vml"/><Relationship Id="rId6" Type="http://schemas.openxmlformats.org/officeDocument/2006/relationships/tags" Target="../tags/tag397.xml"/><Relationship Id="rId5" Type="http://schemas.openxmlformats.org/officeDocument/2006/relationships/tags" Target="../tags/tag396.xml"/><Relationship Id="rId10" Type="http://schemas.openxmlformats.org/officeDocument/2006/relationships/oleObject" Target="../embeddings/oleObject113.bin"/><Relationship Id="rId4" Type="http://schemas.openxmlformats.org/officeDocument/2006/relationships/tags" Target="../tags/tag395.xml"/><Relationship Id="rId9" Type="http://schemas.openxmlformats.org/officeDocument/2006/relationships/image" Target="../media/image2.emf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tags" Target="../tags/tag399.xml"/><Relationship Id="rId7" Type="http://schemas.openxmlformats.org/officeDocument/2006/relationships/image" Target="../media/image7.png"/><Relationship Id="rId2" Type="http://schemas.openxmlformats.org/officeDocument/2006/relationships/tags" Target="../tags/tag398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tags" Target="../tags/tag401.xml"/><Relationship Id="rId7" Type="http://schemas.openxmlformats.org/officeDocument/2006/relationships/image" Target="../media/image8.png"/><Relationship Id="rId2" Type="http://schemas.openxmlformats.org/officeDocument/2006/relationships/tags" Target="../tags/tag400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2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6.bin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png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tags" Target="../tags/tag405.xml"/><Relationship Id="rId2" Type="http://schemas.openxmlformats.org/officeDocument/2006/relationships/tags" Target="../tags/tag404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8.bin"/><Relationship Id="rId4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tags" Target="../tags/tag407.xml"/><Relationship Id="rId2" Type="http://schemas.openxmlformats.org/officeDocument/2006/relationships/tags" Target="../tags/tag406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6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08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09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0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1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2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3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4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5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6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7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8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9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20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21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22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tags" Target="../tags/tag424.xml"/><Relationship Id="rId2" Type="http://schemas.openxmlformats.org/officeDocument/2006/relationships/tags" Target="../tags/tag423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6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25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tags" Target="../tags/tag427.xml"/><Relationship Id="rId2" Type="http://schemas.openxmlformats.org/officeDocument/2006/relationships/tags" Target="../tags/tag426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6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28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tags" Target="../tags/tag430.xml"/><Relationship Id="rId2" Type="http://schemas.openxmlformats.org/officeDocument/2006/relationships/tags" Target="../tags/tag429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tags" Target="../tags/tag432.xml"/><Relationship Id="rId2" Type="http://schemas.openxmlformats.org/officeDocument/2006/relationships/tags" Target="../tags/tag431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3.bin"/><Relationship Id="rId4" Type="http://schemas.openxmlformats.org/officeDocument/2006/relationships/slideMaster" Target="../slideMasters/slideMaster6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png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tags" Target="../tags/tag434.xml"/><Relationship Id="rId2" Type="http://schemas.openxmlformats.org/officeDocument/2006/relationships/tags" Target="../tags/tag433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6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tags" Target="../tags/tag436.xml"/><Relationship Id="rId2" Type="http://schemas.openxmlformats.org/officeDocument/2006/relationships/tags" Target="../tags/tag435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6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tags" Target="../tags/tag438.xml"/><Relationship Id="rId2" Type="http://schemas.openxmlformats.org/officeDocument/2006/relationships/tags" Target="../tags/tag437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6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39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7.bin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0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1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3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4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5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6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7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8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9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tags" Target="../tags/tag451.xml"/><Relationship Id="rId7" Type="http://schemas.openxmlformats.org/officeDocument/2006/relationships/image" Target="../media/image8.png"/><Relationship Id="rId2" Type="http://schemas.openxmlformats.org/officeDocument/2006/relationships/tags" Target="../tags/tag450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6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52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5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54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55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tags" Target="../tags/tag457.xml"/><Relationship Id="rId2" Type="http://schemas.openxmlformats.org/officeDocument/2006/relationships/tags" Target="../tags/tag456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6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58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59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60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tags" Target="../tags/tag462.xml"/><Relationship Id="rId2" Type="http://schemas.openxmlformats.org/officeDocument/2006/relationships/tags" Target="../tags/tag461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0.bin"/><Relationship Id="rId4" Type="http://schemas.openxmlformats.org/officeDocument/2006/relationships/slideMaster" Target="../slideMasters/slideMaster6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tags" Target="../tags/tag464.xml"/><Relationship Id="rId2" Type="http://schemas.openxmlformats.org/officeDocument/2006/relationships/tags" Target="../tags/tag463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1.bin"/><Relationship Id="rId4" Type="http://schemas.openxmlformats.org/officeDocument/2006/relationships/slideMaster" Target="../slideMasters/slideMaster6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tags" Target="../tags/tag466.xml"/><Relationship Id="rId2" Type="http://schemas.openxmlformats.org/officeDocument/2006/relationships/tags" Target="../tags/tag465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6.xml"/></Relationships>
</file>

<file path=ppt/slideLayouts/_rels/slideLayout3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3.bin"/><Relationship Id="rId3" Type="http://schemas.openxmlformats.org/officeDocument/2006/relationships/tags" Target="../tags/tag468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467.xml"/><Relationship Id="rId1" Type="http://schemas.openxmlformats.org/officeDocument/2006/relationships/vmlDrawing" Target="../drawings/vmlDrawing121.vml"/><Relationship Id="rId6" Type="http://schemas.openxmlformats.org/officeDocument/2006/relationships/tags" Target="../tags/tag471.xml"/><Relationship Id="rId5" Type="http://schemas.openxmlformats.org/officeDocument/2006/relationships/tags" Target="../tags/tag470.xml"/><Relationship Id="rId4" Type="http://schemas.openxmlformats.org/officeDocument/2006/relationships/tags" Target="../tags/tag469.xml"/><Relationship Id="rId9" Type="http://schemas.openxmlformats.org/officeDocument/2006/relationships/image" Target="../media/image2.emf"/></Relationships>
</file>

<file path=ppt/slideLayouts/_rels/slideLayout3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73.xml"/><Relationship Id="rId7" Type="http://schemas.openxmlformats.org/officeDocument/2006/relationships/oleObject" Target="../embeddings/oleObject134.bin"/><Relationship Id="rId2" Type="http://schemas.openxmlformats.org/officeDocument/2006/relationships/tags" Target="../tags/tag472.xml"/><Relationship Id="rId1" Type="http://schemas.openxmlformats.org/officeDocument/2006/relationships/vmlDrawing" Target="../drawings/vmlDrawing122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475.xml"/><Relationship Id="rId4" Type="http://schemas.openxmlformats.org/officeDocument/2006/relationships/tags" Target="../tags/tag474.xml"/></Relationships>
</file>

<file path=ppt/slideLayouts/_rels/slideLayout3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77.xml"/><Relationship Id="rId7" Type="http://schemas.openxmlformats.org/officeDocument/2006/relationships/oleObject" Target="../embeddings/oleObject135.bin"/><Relationship Id="rId2" Type="http://schemas.openxmlformats.org/officeDocument/2006/relationships/tags" Target="../tags/tag476.xml"/><Relationship Id="rId1" Type="http://schemas.openxmlformats.org/officeDocument/2006/relationships/vmlDrawing" Target="../drawings/vmlDrawing123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479.xml"/><Relationship Id="rId4" Type="http://schemas.openxmlformats.org/officeDocument/2006/relationships/tags" Target="../tags/tag478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tags" Target="../tags/tag481.xml"/><Relationship Id="rId7" Type="http://schemas.openxmlformats.org/officeDocument/2006/relationships/image" Target="../media/image7.png"/><Relationship Id="rId2" Type="http://schemas.openxmlformats.org/officeDocument/2006/relationships/tags" Target="../tags/tag480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6.xml"/></Relationships>
</file>

<file path=ppt/slideLayouts/_rels/slideLayout3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483.xml"/><Relationship Id="rId7" Type="http://schemas.openxmlformats.org/officeDocument/2006/relationships/tags" Target="../tags/tag487.xml"/><Relationship Id="rId2" Type="http://schemas.openxmlformats.org/officeDocument/2006/relationships/tags" Target="../tags/tag482.xml"/><Relationship Id="rId1" Type="http://schemas.openxmlformats.org/officeDocument/2006/relationships/vmlDrawing" Target="../drawings/vmlDrawing125.vml"/><Relationship Id="rId6" Type="http://schemas.openxmlformats.org/officeDocument/2006/relationships/tags" Target="../tags/tag486.xml"/><Relationship Id="rId11" Type="http://schemas.openxmlformats.org/officeDocument/2006/relationships/oleObject" Target="../embeddings/oleObject138.bin"/><Relationship Id="rId5" Type="http://schemas.openxmlformats.org/officeDocument/2006/relationships/tags" Target="../tags/tag485.xml"/><Relationship Id="rId10" Type="http://schemas.openxmlformats.org/officeDocument/2006/relationships/image" Target="../media/image2.emf"/><Relationship Id="rId4" Type="http://schemas.openxmlformats.org/officeDocument/2006/relationships/tags" Target="../tags/tag484.xml"/><Relationship Id="rId9" Type="http://schemas.openxmlformats.org/officeDocument/2006/relationships/oleObject" Target="../embeddings/oleObject137.bin"/></Relationships>
</file>

<file path=ppt/slideLayouts/_rels/slideLayout3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9.bin"/><Relationship Id="rId3" Type="http://schemas.openxmlformats.org/officeDocument/2006/relationships/tags" Target="../tags/tag489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488.xml"/><Relationship Id="rId1" Type="http://schemas.openxmlformats.org/officeDocument/2006/relationships/vmlDrawing" Target="../drawings/vmlDrawing126.vml"/><Relationship Id="rId6" Type="http://schemas.openxmlformats.org/officeDocument/2006/relationships/tags" Target="../tags/tag492.xml"/><Relationship Id="rId5" Type="http://schemas.openxmlformats.org/officeDocument/2006/relationships/tags" Target="../tags/tag491.xml"/><Relationship Id="rId10" Type="http://schemas.openxmlformats.org/officeDocument/2006/relationships/oleObject" Target="../embeddings/oleObject140.bin"/><Relationship Id="rId4" Type="http://schemas.openxmlformats.org/officeDocument/2006/relationships/tags" Target="../tags/tag490.xml"/><Relationship Id="rId9" Type="http://schemas.openxmlformats.org/officeDocument/2006/relationships/image" Target="../media/image2.emf"/></Relationships>
</file>

<file path=ppt/slideLayouts/_rels/slideLayout3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1.bin"/><Relationship Id="rId3" Type="http://schemas.openxmlformats.org/officeDocument/2006/relationships/tags" Target="../tags/tag494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493.xml"/><Relationship Id="rId1" Type="http://schemas.openxmlformats.org/officeDocument/2006/relationships/vmlDrawing" Target="../drawings/vmlDrawing127.vml"/><Relationship Id="rId6" Type="http://schemas.openxmlformats.org/officeDocument/2006/relationships/tags" Target="../tags/tag497.xml"/><Relationship Id="rId5" Type="http://schemas.openxmlformats.org/officeDocument/2006/relationships/tags" Target="../tags/tag496.xml"/><Relationship Id="rId10" Type="http://schemas.openxmlformats.org/officeDocument/2006/relationships/oleObject" Target="../embeddings/oleObject142.bin"/><Relationship Id="rId4" Type="http://schemas.openxmlformats.org/officeDocument/2006/relationships/tags" Target="../tags/tag495.xml"/><Relationship Id="rId9" Type="http://schemas.openxmlformats.org/officeDocument/2006/relationships/image" Target="../media/image2.emf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tags" Target="../tags/tag499.xml"/><Relationship Id="rId7" Type="http://schemas.openxmlformats.org/officeDocument/2006/relationships/image" Target="../media/image7.png"/><Relationship Id="rId2" Type="http://schemas.openxmlformats.org/officeDocument/2006/relationships/tags" Target="../tags/tag498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3.bin"/><Relationship Id="rId4" Type="http://schemas.openxmlformats.org/officeDocument/2006/relationships/slideMaster" Target="../slideMasters/slideMaster6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tags" Target="../tags/tag501.xml"/><Relationship Id="rId7" Type="http://schemas.openxmlformats.org/officeDocument/2006/relationships/image" Target="../media/image8.png"/><Relationship Id="rId2" Type="http://schemas.openxmlformats.org/officeDocument/2006/relationships/tags" Target="../tags/tag500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4.bin"/><Relationship Id="rId4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02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5.bin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8.png"/><Relationship Id="rId2" Type="http://schemas.openxmlformats.org/officeDocument/2006/relationships/tags" Target="../tags/tag5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6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8.v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9" Type="http://schemas.openxmlformats.org/officeDocument/2006/relationships/image" Target="../media/image2.emf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4.xml"/><Relationship Id="rId7" Type="http://schemas.openxmlformats.org/officeDocument/2006/relationships/oleObject" Target="../embeddings/oleObject19.bin"/><Relationship Id="rId2" Type="http://schemas.openxmlformats.org/officeDocument/2006/relationships/tags" Target="../tags/tag73.xml"/><Relationship Id="rId1" Type="http://schemas.openxmlformats.org/officeDocument/2006/relationships/vmlDrawing" Target="../drawings/vmlDrawing19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6.xml"/><Relationship Id="rId4" Type="http://schemas.openxmlformats.org/officeDocument/2006/relationships/tags" Target="../tags/tag7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8.xml"/><Relationship Id="rId7" Type="http://schemas.openxmlformats.org/officeDocument/2006/relationships/oleObject" Target="../embeddings/oleObject20.bin"/><Relationship Id="rId2" Type="http://schemas.openxmlformats.org/officeDocument/2006/relationships/tags" Target="../tags/tag77.xml"/><Relationship Id="rId1" Type="http://schemas.openxmlformats.org/officeDocument/2006/relationships/vmlDrawing" Target="../drawings/vmlDrawing2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7.png"/><Relationship Id="rId2" Type="http://schemas.openxmlformats.org/officeDocument/2006/relationships/tags" Target="../tags/tag8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2" Type="http://schemas.openxmlformats.org/officeDocument/2006/relationships/tags" Target="../tags/tag83.xml"/><Relationship Id="rId1" Type="http://schemas.openxmlformats.org/officeDocument/2006/relationships/vmlDrawing" Target="../drawings/vmlDrawing22.vml"/><Relationship Id="rId6" Type="http://schemas.openxmlformats.org/officeDocument/2006/relationships/tags" Target="../tags/tag87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86.xml"/><Relationship Id="rId10" Type="http://schemas.openxmlformats.org/officeDocument/2006/relationships/image" Target="../media/image2.emf"/><Relationship Id="rId4" Type="http://schemas.openxmlformats.org/officeDocument/2006/relationships/tags" Target="../tags/tag85.xml"/><Relationship Id="rId9" Type="http://schemas.openxmlformats.org/officeDocument/2006/relationships/oleObject" Target="../embeddings/oleObject22.bin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9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89.xml"/><Relationship Id="rId1" Type="http://schemas.openxmlformats.org/officeDocument/2006/relationships/vmlDrawing" Target="../drawings/vmlDrawing23.vml"/><Relationship Id="rId6" Type="http://schemas.openxmlformats.org/officeDocument/2006/relationships/tags" Target="../tags/tag93.xml"/><Relationship Id="rId5" Type="http://schemas.openxmlformats.org/officeDocument/2006/relationships/tags" Target="../tags/tag92.xml"/><Relationship Id="rId10" Type="http://schemas.openxmlformats.org/officeDocument/2006/relationships/oleObject" Target="../embeddings/oleObject25.bin"/><Relationship Id="rId4" Type="http://schemas.openxmlformats.org/officeDocument/2006/relationships/tags" Target="../tags/tag91.xml"/><Relationship Id="rId9" Type="http://schemas.openxmlformats.org/officeDocument/2006/relationships/image" Target="../media/image2.emf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9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vmlDrawing" Target="../drawings/vmlDrawing24.v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96.xml"/><Relationship Id="rId9" Type="http://schemas.openxmlformats.org/officeDocument/2006/relationships/image" Target="../media/image2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7.png"/><Relationship Id="rId2" Type="http://schemas.openxmlformats.org/officeDocument/2006/relationships/tags" Target="../tags/tag9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8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7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9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0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1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D6F975A-029D-42D9-B7F0-B462861F36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311E40-3A60-4D63-843D-2B8752EFD040}" type="datetime1">
              <a:rPr lang="en-US" smtClean="0"/>
              <a:t>5/25/2021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F137FF5-A534-41EA-B764-ED64DAD76D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DB01107-7C8E-4AAD-8725-609F9999B1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63A51-EE23-4C00-B2B1-7BDFF9B35B0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903856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428A0D0-B15C-4271-BC04-C50C9A498E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6216C-21AC-4422-819F-B3F078BDC82A}" type="datetime1">
              <a:rPr lang="en-US" smtClean="0"/>
              <a:t>5/25/2021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A4347A8-B0EF-446C-88F6-051E82389C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5E76A25-EB8C-4423-A4B5-0E4BCD7AC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615962-85C8-4718-AED9-29E928FB39E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2546327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3F2FD133-F2E6-40A3-9E65-BE4D04D85F61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0F263F4-5533-436D-84DD-B1250BEF9FF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B1359446-CB50-48CA-ADD3-64A5BB99BA8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68D6E372-8F37-4023-B1C5-DEEEFDC161E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AFFF3E3-AD4F-4195-A1EF-9BB7308595C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472788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1600525-CAE1-448B-AAA0-3581C043F4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2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98306" name="Object 1" hidden="1">
                        <a:extLst>
                          <a:ext uri="{FF2B5EF4-FFF2-40B4-BE49-F238E27FC236}">
                            <a16:creationId xmlns:a16="http://schemas.microsoft.com/office/drawing/2014/main" id="{12C9197B-34D2-4F22-9AD1-9A6A127058F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4CFFF748-83AE-4DAC-B23E-70A8C7F8E43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AA63C35-CCA5-45CC-ACB4-A85389943AD2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E626C14B-9410-4C73-9DC3-36F36699506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07E244-D504-4A44-B7B7-66B43441A1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19DD50F-E19E-493A-ACC0-193C00E5EBBA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125682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>
            <a:extLst>
              <a:ext uri="{FF2B5EF4-FFF2-40B4-BE49-F238E27FC236}">
                <a16:creationId xmlns:a16="http://schemas.microsoft.com/office/drawing/2014/main" id="{6B53E1A3-8AE2-45BC-B17C-6EA97826AF5B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C0069EC-200F-40E0-854B-1A7E2C904BF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FooterSimple" hidden="1">
            <a:extLst>
              <a:ext uri="{FF2B5EF4-FFF2-40B4-BE49-F238E27FC236}">
                <a16:creationId xmlns:a16="http://schemas.microsoft.com/office/drawing/2014/main" id="{E76079BB-5CC1-4B08-AAFD-E05B06B92D0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448B900E-4D67-4E4A-9DAE-C662F09A47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284F901-C414-4E52-91DF-4BC0EE6FE759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444489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EFE61B2-506E-41F3-BE0B-7A3E4C8ADB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4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00354" name="Object 1" hidden="1">
                        <a:extLst>
                          <a:ext uri="{FF2B5EF4-FFF2-40B4-BE49-F238E27FC236}">
                            <a16:creationId xmlns:a16="http://schemas.microsoft.com/office/drawing/2014/main" id="{DECCB08C-7EC5-4E1C-A3F9-2FDE71BC852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777032E6-C031-4DBD-A529-6C4D2757025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DEC6C61-D5D5-47D3-BD9D-EA2725761757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056F7A3F-2247-4790-A502-1166A4C2C9A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</p:spTree>
    <p:extLst>
      <p:ext uri="{BB962C8B-B14F-4D97-AF65-F5344CB8AC3E}">
        <p14:creationId xmlns:p14="http://schemas.microsoft.com/office/powerpoint/2010/main" val="18318231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1149842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yout gu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A850543-482F-4FA2-82FD-9975D87B66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7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02402" name="Object 1" hidden="1">
                        <a:extLst>
                          <a:ext uri="{FF2B5EF4-FFF2-40B4-BE49-F238E27FC236}">
                            <a16:creationId xmlns:a16="http://schemas.microsoft.com/office/drawing/2014/main" id="{FA749B1D-4370-4CAC-B0DC-56C690125E5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AC8FC4AB-E079-411C-B1DF-CFA83A6A8BF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B30D976-8D29-40F8-B477-B115B8A28A57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F443E5E1-1588-4970-B8B0-AFFF510E9D5B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16200000">
            <a:off x="9452769" y="3921919"/>
            <a:ext cx="5133975" cy="968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D96DBC24-2836-401F-826B-CF2F37259EA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grpSp>
        <p:nvGrpSpPr>
          <p:cNvPr id="6" name="A4Grid">
            <a:extLst>
              <a:ext uri="{FF2B5EF4-FFF2-40B4-BE49-F238E27FC236}">
                <a16:creationId xmlns:a16="http://schemas.microsoft.com/office/drawing/2014/main" id="{C2B12950-CADF-4316-947E-7336B66118B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26895702-A345-4402-964C-12410B3B372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8" name="No-fly zone">
              <a:extLst>
                <a:ext uri="{FF2B5EF4-FFF2-40B4-BE49-F238E27FC236}">
                  <a16:creationId xmlns:a16="http://schemas.microsoft.com/office/drawing/2014/main" id="{416B00E4-CF40-4704-95A1-5D36E77507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29400 w 9906000"/>
                <a:gd name="T1" fmla="*/ 622800 h 6858000"/>
                <a:gd name="T2" fmla="*/ 629400 w 9906000"/>
                <a:gd name="T3" fmla="*/ 6156000 h 6858000"/>
                <a:gd name="T4" fmla="*/ 9276600 w 9906000"/>
                <a:gd name="T5" fmla="*/ 6156000 h 6858000"/>
                <a:gd name="T6" fmla="*/ 9276600 w 9906000"/>
                <a:gd name="T7" fmla="*/ 622800 h 6858000"/>
                <a:gd name="T8" fmla="*/ 0 w 9906000"/>
                <a:gd name="T9" fmla="*/ 0 h 6858000"/>
                <a:gd name="T10" fmla="*/ 629400 w 9906000"/>
                <a:gd name="T11" fmla="*/ 0 h 6858000"/>
                <a:gd name="T12" fmla="*/ 629400 w 9906000"/>
                <a:gd name="T13" fmla="*/ 0 h 6858000"/>
                <a:gd name="T14" fmla="*/ 9276600 w 9906000"/>
                <a:gd name="T15" fmla="*/ 0 h 6858000"/>
                <a:gd name="T16" fmla="*/ 9906000 w 9906000"/>
                <a:gd name="T17" fmla="*/ 0 h 6858000"/>
                <a:gd name="T18" fmla="*/ 9906000 w 9906000"/>
                <a:gd name="T19" fmla="*/ 622800 h 6858000"/>
                <a:gd name="T20" fmla="*/ 9906000 w 9906000"/>
                <a:gd name="T21" fmla="*/ 6156000 h 6858000"/>
                <a:gd name="T22" fmla="*/ 9906000 w 9906000"/>
                <a:gd name="T23" fmla="*/ 6858000 h 6858000"/>
                <a:gd name="T24" fmla="*/ 9276600 w 9906000"/>
                <a:gd name="T25" fmla="*/ 6858000 h 6858000"/>
                <a:gd name="T26" fmla="*/ 629400 w 9906000"/>
                <a:gd name="T27" fmla="*/ 6858000 h 6858000"/>
                <a:gd name="T28" fmla="*/ 0 w 9906000"/>
                <a:gd name="T29" fmla="*/ 6858000 h 6858000"/>
                <a:gd name="T30" fmla="*/ 0 w 9906000"/>
                <a:gd name="T31" fmla="*/ 6858000 h 6858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lnTo>
                    <a:pt x="6294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430A4C44-E532-4B27-841E-F1ACFE150A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:a16="http://schemas.microsoft.com/office/drawing/2014/main" id="{81A52FC5-A8ED-485E-82C3-FB33D90E3B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545454"/>
                </a:solidFill>
                <a:latin typeface="Trebuchet MS"/>
              </a:endParaRPr>
            </a:p>
          </p:txBody>
        </p:sp>
        <p:grpSp>
          <p:nvGrpSpPr>
            <p:cNvPr id="11" name="Gutter space">
              <a:extLst>
                <a:ext uri="{FF2B5EF4-FFF2-40B4-BE49-F238E27FC236}">
                  <a16:creationId xmlns:a16="http://schemas.microsoft.com/office/drawing/2014/main" id="{896553A7-FBCA-40B4-9F7A-FBDC64836F30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41" name="Gutter 11">
                <a:extLst>
                  <a:ext uri="{FF2B5EF4-FFF2-40B4-BE49-F238E27FC236}">
                    <a16:creationId xmlns:a16="http://schemas.microsoft.com/office/drawing/2014/main" id="{7CF13B1E-968C-4FE4-A50F-55C3F219E3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2" name="Gutter 10">
                <a:extLst>
                  <a:ext uri="{FF2B5EF4-FFF2-40B4-BE49-F238E27FC236}">
                    <a16:creationId xmlns:a16="http://schemas.microsoft.com/office/drawing/2014/main" id="{C626A1F0-61C8-48E7-B0EC-050CCBCDAB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3" name="Gutter 9">
                <a:extLst>
                  <a:ext uri="{FF2B5EF4-FFF2-40B4-BE49-F238E27FC236}">
                    <a16:creationId xmlns:a16="http://schemas.microsoft.com/office/drawing/2014/main" id="{A5F92967-E1D9-4083-8425-5AE821A1C5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4" name="Gutter 8">
                <a:extLst>
                  <a:ext uri="{FF2B5EF4-FFF2-40B4-BE49-F238E27FC236}">
                    <a16:creationId xmlns:a16="http://schemas.microsoft.com/office/drawing/2014/main" id="{59A1309D-7F37-4D38-BC94-00B79721E4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5" name="Gutter 7">
                <a:extLst>
                  <a:ext uri="{FF2B5EF4-FFF2-40B4-BE49-F238E27FC236}">
                    <a16:creationId xmlns:a16="http://schemas.microsoft.com/office/drawing/2014/main" id="{B0975B19-E2BE-4D7A-A081-4A8A877E4C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6" name="Gutter 6">
                <a:extLst>
                  <a:ext uri="{FF2B5EF4-FFF2-40B4-BE49-F238E27FC236}">
                    <a16:creationId xmlns:a16="http://schemas.microsoft.com/office/drawing/2014/main" id="{0E43667E-5C64-420C-A441-B515840D15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7" name="Gutter 5">
                <a:extLst>
                  <a:ext uri="{FF2B5EF4-FFF2-40B4-BE49-F238E27FC236}">
                    <a16:creationId xmlns:a16="http://schemas.microsoft.com/office/drawing/2014/main" id="{7C252E69-0643-4EA7-B07E-B173EF9DF9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8" name="Gutter 4">
                <a:extLst>
                  <a:ext uri="{FF2B5EF4-FFF2-40B4-BE49-F238E27FC236}">
                    <a16:creationId xmlns:a16="http://schemas.microsoft.com/office/drawing/2014/main" id="{E2B14E1B-B9F1-42CE-A5BC-6400A64912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9" name="Gutter 3">
                <a:extLst>
                  <a:ext uri="{FF2B5EF4-FFF2-40B4-BE49-F238E27FC236}">
                    <a16:creationId xmlns:a16="http://schemas.microsoft.com/office/drawing/2014/main" id="{D6E707D1-5F16-4220-842C-806F5F1BB9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50" name="Gutter 2">
                <a:extLst>
                  <a:ext uri="{FF2B5EF4-FFF2-40B4-BE49-F238E27FC236}">
                    <a16:creationId xmlns:a16="http://schemas.microsoft.com/office/drawing/2014/main" id="{B004BAA7-9DEE-4454-8E44-5CCD1A861A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51" name="Gutter 1">
                <a:extLst>
                  <a:ext uri="{FF2B5EF4-FFF2-40B4-BE49-F238E27FC236}">
                    <a16:creationId xmlns:a16="http://schemas.microsoft.com/office/drawing/2014/main" id="{E79096D0-06EA-4008-BF36-F723C349F1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grpSp>
          <p:nvGrpSpPr>
            <p:cNvPr id="12" name="Baselines/Anchors">
              <a:extLst>
                <a:ext uri="{FF2B5EF4-FFF2-40B4-BE49-F238E27FC236}">
                  <a16:creationId xmlns:a16="http://schemas.microsoft.com/office/drawing/2014/main" id="{394ACEAB-2BBA-4D7F-BA37-75B77294ABCC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21" name="Line 20">
                <a:extLst>
                  <a:ext uri="{FF2B5EF4-FFF2-40B4-BE49-F238E27FC236}">
                    <a16:creationId xmlns:a16="http://schemas.microsoft.com/office/drawing/2014/main" id="{197AD882-CFB7-4B3F-83C3-8E40A1F5819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Line 19">
                <a:extLst>
                  <a:ext uri="{FF2B5EF4-FFF2-40B4-BE49-F238E27FC236}">
                    <a16:creationId xmlns:a16="http://schemas.microsoft.com/office/drawing/2014/main" id="{53A92281-B614-49D8-BFE4-9FD30FF900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" name="Line 18">
                <a:extLst>
                  <a:ext uri="{FF2B5EF4-FFF2-40B4-BE49-F238E27FC236}">
                    <a16:creationId xmlns:a16="http://schemas.microsoft.com/office/drawing/2014/main" id="{F2CC2A5A-80F1-4B39-A1F9-80C495EA5A5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Line 17">
                <a:extLst>
                  <a:ext uri="{FF2B5EF4-FFF2-40B4-BE49-F238E27FC236}">
                    <a16:creationId xmlns:a16="http://schemas.microsoft.com/office/drawing/2014/main" id="{394A0BBA-15F4-436D-B90A-648DC07CE3F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5" name="Line 16">
                <a:extLst>
                  <a:ext uri="{FF2B5EF4-FFF2-40B4-BE49-F238E27FC236}">
                    <a16:creationId xmlns:a16="http://schemas.microsoft.com/office/drawing/2014/main" id="{EA403D1F-82C1-4086-9A42-4BDCEFF150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Line 15">
                <a:extLst>
                  <a:ext uri="{FF2B5EF4-FFF2-40B4-BE49-F238E27FC236}">
                    <a16:creationId xmlns:a16="http://schemas.microsoft.com/office/drawing/2014/main" id="{1EC3C1FB-0D70-4EC3-99D9-7348C7CC179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7" name="Line 14">
                <a:extLst>
                  <a:ext uri="{FF2B5EF4-FFF2-40B4-BE49-F238E27FC236}">
                    <a16:creationId xmlns:a16="http://schemas.microsoft.com/office/drawing/2014/main" id="{468B75B1-D421-4682-9E1E-2D48DC0EDD2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8" name="Line 13">
                <a:extLst>
                  <a:ext uri="{FF2B5EF4-FFF2-40B4-BE49-F238E27FC236}">
                    <a16:creationId xmlns:a16="http://schemas.microsoft.com/office/drawing/2014/main" id="{D7B511F7-0FF7-4114-9B4A-501BA8E639E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9" name="Line 12">
                <a:extLst>
                  <a:ext uri="{FF2B5EF4-FFF2-40B4-BE49-F238E27FC236}">
                    <a16:creationId xmlns:a16="http://schemas.microsoft.com/office/drawing/2014/main" id="{B1F17D7D-0810-4341-8C57-7A37D54997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0" name="Line 11">
                <a:extLst>
                  <a:ext uri="{FF2B5EF4-FFF2-40B4-BE49-F238E27FC236}">
                    <a16:creationId xmlns:a16="http://schemas.microsoft.com/office/drawing/2014/main" id="{8B1341C4-B7F1-4ADD-827D-5C790DDFCF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Line 10">
                <a:extLst>
                  <a:ext uri="{FF2B5EF4-FFF2-40B4-BE49-F238E27FC236}">
                    <a16:creationId xmlns:a16="http://schemas.microsoft.com/office/drawing/2014/main" id="{8965B5FE-56AD-4D21-B00B-999674D817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2" name="Line 9">
                <a:extLst>
                  <a:ext uri="{FF2B5EF4-FFF2-40B4-BE49-F238E27FC236}">
                    <a16:creationId xmlns:a16="http://schemas.microsoft.com/office/drawing/2014/main" id="{E4351AE4-85DC-4406-84EB-21EF162B7CF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" name="Line 8">
                <a:extLst>
                  <a:ext uri="{FF2B5EF4-FFF2-40B4-BE49-F238E27FC236}">
                    <a16:creationId xmlns:a16="http://schemas.microsoft.com/office/drawing/2014/main" id="{34584FED-70AF-404C-8CB9-E6C69A9780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4" name="Line 7">
                <a:extLst>
                  <a:ext uri="{FF2B5EF4-FFF2-40B4-BE49-F238E27FC236}">
                    <a16:creationId xmlns:a16="http://schemas.microsoft.com/office/drawing/2014/main" id="{0CCF674F-7164-4BF0-AD77-615B44007FF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Line 6">
                <a:extLst>
                  <a:ext uri="{FF2B5EF4-FFF2-40B4-BE49-F238E27FC236}">
                    <a16:creationId xmlns:a16="http://schemas.microsoft.com/office/drawing/2014/main" id="{9E476945-7EA6-4152-BECE-1D59BA10F5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Line 5">
                <a:extLst>
                  <a:ext uri="{FF2B5EF4-FFF2-40B4-BE49-F238E27FC236}">
                    <a16:creationId xmlns:a16="http://schemas.microsoft.com/office/drawing/2014/main" id="{1224ADDC-2745-4722-AFE3-51E9EA205EE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7" name="Line 4">
                <a:extLst>
                  <a:ext uri="{FF2B5EF4-FFF2-40B4-BE49-F238E27FC236}">
                    <a16:creationId xmlns:a16="http://schemas.microsoft.com/office/drawing/2014/main" id="{808533A1-D259-48F2-9184-14279ECED12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Line 3">
                <a:extLst>
                  <a:ext uri="{FF2B5EF4-FFF2-40B4-BE49-F238E27FC236}">
                    <a16:creationId xmlns:a16="http://schemas.microsoft.com/office/drawing/2014/main" id="{A11A0765-0AA7-4F4F-80A9-D479BDFF27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" name="Line 2">
                <a:extLst>
                  <a:ext uri="{FF2B5EF4-FFF2-40B4-BE49-F238E27FC236}">
                    <a16:creationId xmlns:a16="http://schemas.microsoft.com/office/drawing/2014/main" id="{84939347-6B8E-4F54-90E3-8274687380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" name="Line 1">
                <a:extLst>
                  <a:ext uri="{FF2B5EF4-FFF2-40B4-BE49-F238E27FC236}">
                    <a16:creationId xmlns:a16="http://schemas.microsoft.com/office/drawing/2014/main" id="{D60A1AF2-1F6E-47FD-BBF7-8872F99A71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3" name="Five column measure">
              <a:extLst>
                <a:ext uri="{FF2B5EF4-FFF2-40B4-BE49-F238E27FC236}">
                  <a16:creationId xmlns:a16="http://schemas.microsoft.com/office/drawing/2014/main" id="{2454FA16-A800-4822-80CE-7677D1702899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6" name="Column 5">
                <a:extLst>
                  <a:ext uri="{FF2B5EF4-FFF2-40B4-BE49-F238E27FC236}">
                    <a16:creationId xmlns:a16="http://schemas.microsoft.com/office/drawing/2014/main" id="{9373B876-3570-4965-BC32-4E7D9C0DC8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7" name="Column 4">
                <a:extLst>
                  <a:ext uri="{FF2B5EF4-FFF2-40B4-BE49-F238E27FC236}">
                    <a16:creationId xmlns:a16="http://schemas.microsoft.com/office/drawing/2014/main" id="{ECF8F25F-5F7B-4EB3-B129-9126E5A7AD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8" name="Column 3">
                <a:extLst>
                  <a:ext uri="{FF2B5EF4-FFF2-40B4-BE49-F238E27FC236}">
                    <a16:creationId xmlns:a16="http://schemas.microsoft.com/office/drawing/2014/main" id="{DCBB9E5F-239C-4A4C-A90D-B54C9CF89F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9" name="Column 2">
                <a:extLst>
                  <a:ext uri="{FF2B5EF4-FFF2-40B4-BE49-F238E27FC236}">
                    <a16:creationId xmlns:a16="http://schemas.microsoft.com/office/drawing/2014/main" id="{9BFE2ADE-831D-4083-91DC-7206CFA2A7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20" name="Column 1">
                <a:extLst>
                  <a:ext uri="{FF2B5EF4-FFF2-40B4-BE49-F238E27FC236}">
                    <a16:creationId xmlns:a16="http://schemas.microsoft.com/office/drawing/2014/main" id="{DD86F3F4-93B0-4C5F-911D-8F29D5D51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sp>
          <p:nvSpPr>
            <p:cNvPr id="14" name="Live space">
              <a:extLst>
                <a:ext uri="{FF2B5EF4-FFF2-40B4-BE49-F238E27FC236}">
                  <a16:creationId xmlns:a16="http://schemas.microsoft.com/office/drawing/2014/main" id="{BEA107AA-1070-4C2E-B278-0046E78F788D}"/>
                </a:ext>
              </a:extLst>
            </p:cNvPr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rgbClr val="545454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5CAC3331-61E9-4C57-9F39-E232782360B2}"/>
                </a:ext>
              </a:extLst>
            </p:cNvPr>
            <p:cNvSpPr txBox="1">
              <a:spLocks noChangeAspect="1"/>
            </p:cNvSpPr>
            <p:nvPr userDrawn="1"/>
          </p:nvSpPr>
          <p:spPr bwMode="auto">
            <a:xfrm>
              <a:off x="629444" y="6099175"/>
              <a:ext cx="7283748" cy="4619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lang="en-US" altLang="en-US" sz="1000">
                <a:solidFill>
                  <a:srgbClr val="A6A6A6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2" name="Date Placeholder 1">
            <a:extLst>
              <a:ext uri="{FF2B5EF4-FFF2-40B4-BE49-F238E27FC236}">
                <a16:creationId xmlns:a16="http://schemas.microsoft.com/office/drawing/2014/main" id="{E83BE4D6-8C7D-4405-9CB6-803D3B0AF0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0D9C63F-45DE-42EE-937D-A7F8785CCD71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731749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nelWhite">
            <a:extLst>
              <a:ext uri="{FF2B5EF4-FFF2-40B4-BE49-F238E27FC236}">
                <a16:creationId xmlns:a16="http://schemas.microsoft.com/office/drawing/2014/main" id="{625F75B0-03AB-4723-8B67-60ED3F51A3D8}"/>
              </a:ext>
            </a:extLst>
          </p:cNvPr>
          <p:cNvSpPr/>
          <p:nvPr userDrawn="1"/>
        </p:nvSpPr>
        <p:spPr>
          <a:xfrm>
            <a:off x="0" y="5278438"/>
            <a:ext cx="12192000" cy="157956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Shadow">
            <a:extLst>
              <a:ext uri="{FF2B5EF4-FFF2-40B4-BE49-F238E27FC236}">
                <a16:creationId xmlns:a16="http://schemas.microsoft.com/office/drawing/2014/main" id="{F3391F6D-A0B8-486F-B563-E61EEE5D1E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" t="102" r="8742" b="1730"/>
          <a:stretch>
            <a:fillRect/>
          </a:stretch>
        </p:blipFill>
        <p:spPr bwMode="auto">
          <a:xfrm>
            <a:off x="3751263" y="5094288"/>
            <a:ext cx="8440737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:a16="http://schemas.microsoft.com/office/drawing/2014/main" id="{7B413C1F-ECA6-4A15-A470-7386C0A234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404" r="38" b="24950"/>
          <a:stretch>
            <a:fillRect/>
          </a:stretch>
        </p:blipFill>
        <p:spPr bwMode="auto">
          <a:xfrm>
            <a:off x="-17463" y="0"/>
            <a:ext cx="12218988" cy="52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>
            <a:extLst>
              <a:ext uri="{FF2B5EF4-FFF2-40B4-BE49-F238E27FC236}">
                <a16:creationId xmlns:a16="http://schemas.microsoft.com/office/drawing/2014/main" id="{14A809A0-7DF5-4C2B-AAB4-CADD3BA89BBA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71525" y="1509713"/>
            <a:ext cx="7913688" cy="4646612"/>
          </a:xfrm>
          <a:prstGeom prst="rect">
            <a:avLst/>
          </a:prstGeom>
          <a:gradFill rotWithShape="0">
            <a:gsLst>
              <a:gs pos="0">
                <a:srgbClr val="071117"/>
              </a:gs>
              <a:gs pos="100000">
                <a:srgbClr val="295E7E">
                  <a:alpha val="89999"/>
                </a:srgbClr>
              </a:gs>
            </a:gsLst>
            <a:lin ang="8400000"/>
          </a:gra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1000"/>
              </a:spcAft>
              <a:defRPr/>
            </a:pPr>
            <a:endParaRPr lang="en-US" alt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2" descr="Image result for министерство труда казахстана logo">
            <a:extLst>
              <a:ext uri="{FF2B5EF4-FFF2-40B4-BE49-F238E27FC236}">
                <a16:creationId xmlns:a16="http://schemas.microsoft.com/office/drawing/2014/main" id="{806ACA58-B589-4F3D-A609-2C00F1992A3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701800"/>
            <a:ext cx="901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4">
            <a:extLst>
              <a:ext uri="{FF2B5EF4-FFF2-40B4-BE49-F238E27FC236}">
                <a16:creationId xmlns:a16="http://schemas.microsoft.com/office/drawing/2014/main" id="{A39D7D2A-0AC8-4C70-8AA3-A1BBCA32175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Министерство труда и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Социальной защиты населения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Республики Казахстан</a:t>
            </a:r>
            <a:endParaRPr lang="en-US" altLang="en-US" sz="1400" b="1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4" name="Logo Placeholder"/>
          <p:cNvSpPr>
            <a:spLocks noGrp="1"/>
          </p:cNvSpPr>
          <p:nvPr>
            <p:ph type="pic" sz="quarter" idx="13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2" name="Title 1"/>
          <p:cNvSpPr>
            <a:spLocks noGrp="1"/>
          </p:cNvSpPr>
          <p:nvPr>
            <p:ph type="ctrTitle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8439753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AE5908F6-3C54-410B-A4F0-A07741239B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9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04450" name="Object 1" hidden="1">
                        <a:extLst>
                          <a:ext uri="{FF2B5EF4-FFF2-40B4-BE49-F238E27FC236}">
                            <a16:creationId xmlns:a16="http://schemas.microsoft.com/office/drawing/2014/main" id="{05A4B936-E83F-4ADF-AA98-C8F0BEAF212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770647FF-A149-42DA-B3AB-C5CCDDE0BBD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596278A-BB85-4606-9163-C8C2B88CADF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DD772848-2D86-4147-832A-2EC41EC93F0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56">
            <a:extLst>
              <a:ext uri="{FF2B5EF4-FFF2-40B4-BE49-F238E27FC236}">
                <a16:creationId xmlns:a16="http://schemas.microsoft.com/office/drawing/2014/main" id="{D1551FCC-7F37-4C8B-B11C-A1E87E98F9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EFE46250-7A67-4F63-A141-092C4ED24664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8919721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2D4F12A5-A9D1-42B2-A3B8-6523E21C11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2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05474" name="Object 1" hidden="1">
                        <a:extLst>
                          <a:ext uri="{FF2B5EF4-FFF2-40B4-BE49-F238E27FC236}">
                            <a16:creationId xmlns:a16="http://schemas.microsoft.com/office/drawing/2014/main" id="{8BB5F6FA-0ABD-469E-B64E-618CF38A4FD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age">
            <a:extLst>
              <a:ext uri="{FF2B5EF4-FFF2-40B4-BE49-F238E27FC236}">
                <a16:creationId xmlns:a16="http://schemas.microsoft.com/office/drawing/2014/main" id="{7FC6604A-25EE-4164-B1CC-49DA3383617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97F4C3A-24CC-49B4-8F9E-C39A57C99ED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PanelGray">
            <a:extLst>
              <a:ext uri="{FF2B5EF4-FFF2-40B4-BE49-F238E27FC236}">
                <a16:creationId xmlns:a16="http://schemas.microsoft.com/office/drawing/2014/main" id="{6ABE4E6B-F5DC-49E8-8262-5D6EC7442BE0}"/>
              </a:ext>
            </a:extLst>
          </p:cNvPr>
          <p:cNvSpPr/>
          <p:nvPr userDrawn="1"/>
        </p:nvSpPr>
        <p:spPr bwMode="white">
          <a:xfrm>
            <a:off x="0" y="-1588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D737BAC7-B977-466F-B733-CEF89D80C05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775385" y="2158989"/>
            <a:ext cx="3640123" cy="5416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/>
          </p:nvPr>
        </p:nvSpPr>
        <p:spPr>
          <a:xfrm>
            <a:off x="775385" y="1227050"/>
            <a:ext cx="3640123" cy="66479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98565BE1-3B6B-49A7-AC08-394024F0F7C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1F2DB1E-F89D-4B20-9C9A-367ACF7A32BB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136620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E90CB70E-C54D-4707-BFDD-3897B18A83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4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06498" name="Object 1" hidden="1">
                        <a:extLst>
                          <a:ext uri="{FF2B5EF4-FFF2-40B4-BE49-F238E27FC236}">
                            <a16:creationId xmlns:a16="http://schemas.microsoft.com/office/drawing/2014/main" id="{BAAABC86-C6C7-4BC0-9F72-80A7E407473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3C8C9C04-CF36-4151-B388-AEE34940EB7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3E6469A-988A-464B-95EA-25E640FA2D2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:a16="http://schemas.microsoft.com/office/drawing/2014/main" id="{94B7F182-ACA1-4326-851E-5C261FE1E42D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090613" y="1457325"/>
            <a:ext cx="1127125" cy="91916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34D7FF5B-DDB8-4A9B-90DC-BAF89CAD2132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3538" cy="3201026"/>
          </a:xfrm>
          <a:prstGeom prst="rect">
            <a:avLst/>
          </a:prstGeom>
          <a:ln w="9525">
            <a:noFill/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8">
            <a:extLst>
              <a:ext uri="{FF2B5EF4-FFF2-40B4-BE49-F238E27FC236}">
                <a16:creationId xmlns:a16="http://schemas.microsoft.com/office/drawing/2014/main" id="{FD263BE8-413A-4741-B563-6AD9179EC8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8749773-1DB1-487F-A5D1-7C6134D71F79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1897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E92169B-C10D-40BC-B3DF-DCA42084B6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F93B8D-589B-4D07-92CA-B45B75C64B46}" type="datetime1">
              <a:rPr lang="en-US" smtClean="0"/>
              <a:t>5/25/2021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28F630F-01E4-43ED-B648-4617F2D76B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0CD357C-FF9A-49BC-AA87-87E494B846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C81377-88FF-4035-89AF-C800C04359B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7043642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96F0FCE6-3299-4A7C-A7D2-7345C17140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6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07522" name="Object 1" hidden="1">
                        <a:extLst>
                          <a:ext uri="{FF2B5EF4-FFF2-40B4-BE49-F238E27FC236}">
                            <a16:creationId xmlns:a16="http://schemas.microsoft.com/office/drawing/2014/main" id="{4F2C39A3-72AC-4A94-BBC3-434E4BF741E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8104529B-A7CB-4E6B-8DE1-5B404EB5F04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FD39822-F894-4F77-BBEC-38E612540B4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5" name="Line">
            <a:extLst>
              <a:ext uri="{FF2B5EF4-FFF2-40B4-BE49-F238E27FC236}">
                <a16:creationId xmlns:a16="http://schemas.microsoft.com/office/drawing/2014/main" id="{0E027F4B-19DB-44D2-9DFD-64C083E7A05A}"/>
              </a:ext>
            </a:extLst>
          </p:cNvPr>
          <p:cNvCxnSpPr/>
          <p:nvPr userDrawn="1"/>
        </p:nvCxnSpPr>
        <p:spPr bwMode="white">
          <a:xfrm>
            <a:off x="774700" y="3683000"/>
            <a:ext cx="1141888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8">
            <a:extLst>
              <a:ext uri="{FF2B5EF4-FFF2-40B4-BE49-F238E27FC236}">
                <a16:creationId xmlns:a16="http://schemas.microsoft.com/office/drawing/2014/main" id="{86B97CF7-E03E-4F30-AEC4-04CACB315D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F35D0CF-BF40-4973-A1FB-D6C2D831580B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588297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1E0FB22C-C7EF-444A-B93D-C8BB0DA5C16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A68A2631-F5A5-4CB3-ACAC-F367A548C5E8}"/>
              </a:ext>
            </a:extLst>
          </p:cNvPr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C55C7D92-5DD7-4A96-AACD-953B1EAEF45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5DA2413-DB8C-4B94-A1EB-1A6AE6D081CE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2A4BDA2F-29F0-42CB-A855-E334DAB97A7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5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D5E486C5-9D84-4E3C-A857-80D21F50FE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342503C-15BC-4503-835E-6EAAC62361E7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768963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738B4DF2-DFED-42D2-976B-B459830815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:a16="http://schemas.microsoft.com/office/drawing/2014/main" id="{ACF94D8F-DD8D-4B33-95C3-C36FE856CEC6}"/>
              </a:ext>
            </a:extLst>
          </p:cNvPr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7509B373-7876-4C9D-9247-CFDEC667B9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F34FB59-5A12-485A-B8EF-3F5BFFC39BB7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3CDBAF23-4956-40C5-96E8-EF31811EBA3F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84150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2F5427C5-0319-4999-A140-1464E95882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DDCEF16-8C84-4AC7-A0FE-4D06DEC21F5E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89208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9B9ED288-0578-49D9-AF0C-086E9C65B95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3B6CA0B-82EE-48C3-A789-EE2CA7F8F257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Shadow">
            <a:extLst>
              <a:ext uri="{FF2B5EF4-FFF2-40B4-BE49-F238E27FC236}">
                <a16:creationId xmlns:a16="http://schemas.microsoft.com/office/drawing/2014/main" id="{48F33C56-5B10-4EC8-94E2-F230681774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8961438" y="0"/>
            <a:ext cx="51276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:a16="http://schemas.microsoft.com/office/drawing/2014/main" id="{3FA82C46-4438-43EE-9480-5D3CEBF3A807}"/>
              </a:ext>
            </a:extLst>
          </p:cNvPr>
          <p:cNvSpPr/>
          <p:nvPr userDrawn="1"/>
        </p:nvSpPr>
        <p:spPr bwMode="white">
          <a:xfrm>
            <a:off x="0" y="0"/>
            <a:ext cx="89677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EFCA63BB-0E35-406D-9C92-F6229C49032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790968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246BAC80-C207-410A-9795-4F1F0975B1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3021828-F8E9-430C-A169-3472E038ADC4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208573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90D85F48-1797-4CDC-BA2D-8F9795982F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:a16="http://schemas.microsoft.com/office/drawing/2014/main" id="{AA543DBC-F7D8-416D-BD3D-D15A2C60529B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5CCD217D-8CD0-4180-987B-0658C9FB017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41CA46A-11C9-41AF-902B-EA3124AC52F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20046882-683A-457D-83A7-611FD9AF27C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4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F1A51CFC-B784-4243-9973-9BEFD91322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C2D4EC4-6A8C-4AAE-8562-1D1DD5184A8C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129005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:a16="http://schemas.microsoft.com/office/drawing/2014/main" id="{C2EF34C3-2591-493F-9C57-F6E3AC8772C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:a16="http://schemas.microsoft.com/office/drawing/2014/main" id="{DD2E4701-1E6C-4804-BE74-8F106A9644B6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:a16="http://schemas.microsoft.com/office/drawing/2014/main" id="{90175E17-701F-48A5-81B4-900C0840F3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DC31867-25B5-4CD8-9E9B-B809E4FB83E7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8D01F80B-CC6F-4008-A7EC-C3D963F712B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4271262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BF4C78FB-D940-43AB-A794-9223689E5A8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676DFDE-21BF-490D-8B5F-97592FE0A18D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185331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:a16="http://schemas.microsoft.com/office/drawing/2014/main" id="{0DCEBDAF-6B05-4855-BCC9-5BD21C69D5B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:a16="http://schemas.microsoft.com/office/drawing/2014/main" id="{E84E0698-4975-455C-826D-ECD67F98EDD0}"/>
              </a:ext>
            </a:extLst>
          </p:cNvPr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:a16="http://schemas.microsoft.com/office/drawing/2014/main" id="{4CC8C17A-3F67-4F3E-9454-48524308F9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2653EDB-1A6C-4CE3-BDBE-736938D78416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15AECBA8-E145-4613-B1B5-A2B46DD3E62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 bwMode="black">
          <a:xfrm>
            <a:off x="775385" y="1785600"/>
            <a:ext cx="60878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6AC16167-BB0F-4050-B12A-36FE4185E4E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51C6D28-6B98-440F-9BF3-332D626A93A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399885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C9288869-A93B-4354-8501-284BA5C9A8F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:a16="http://schemas.microsoft.com/office/drawing/2014/main" id="{44ADFCB1-07A4-40D7-8118-2AF2E9135F03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F5EB2B10-C428-4015-86F0-2BFD518962C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48A7CBB-74D1-495B-8830-A4AAAD1B9D3E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610F5D58-EDC9-4CEC-A330-0429FE1E2DE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CB3E6E9F-08A3-457D-BE35-48802D3585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EF5BC2F-2DB4-421C-8A93-6FF719897585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464944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:a16="http://schemas.microsoft.com/office/drawing/2014/main" id="{5E2FB8D2-7418-4742-85F5-64FD1C7490B4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A271936E-0D71-41A4-A951-7E3347A56A5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6ABFA60-4204-4EFD-A728-E93940C71B2B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03FABBDF-F5B1-4E62-8F52-2D5F3073B1B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7" name="Picture 10">
            <a:extLst>
              <a:ext uri="{FF2B5EF4-FFF2-40B4-BE49-F238E27FC236}">
                <a16:creationId xmlns:a16="http://schemas.microsoft.com/office/drawing/2014/main" id="{5A7DCB00-65AE-4AC9-874F-177F0E919A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F2C02BE-1DB5-48D6-99AE-7109CA054C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2B98E8A-32EE-4314-87F5-BB1A13E331BD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632876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35CE00CD-9CBA-4D6B-BBAF-86A809F8B77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613" y="3395663"/>
            <a:ext cx="15970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:a16="http://schemas.microsoft.com/office/drawing/2014/main" id="{1C2A584A-7EDA-4A6A-985B-B3D8DABD031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12E038BB-B182-4C68-82D4-2BA7A548EBE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64D772D-80F6-47F3-8F93-56118DEAA2A2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C93C38E5-5CCD-45AE-8C94-DB3E338EB3F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D6229CB3-88EE-4ED4-B2B5-DB45317289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DDA6A75-539C-46DD-83C9-8F02791DB818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60388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nelWhite">
            <a:extLst>
              <a:ext uri="{FF2B5EF4-FFF2-40B4-BE49-F238E27FC236}">
                <a16:creationId xmlns:a16="http://schemas.microsoft.com/office/drawing/2014/main" id="{B5EC6EAC-F8BE-42F9-93FD-DA32B5788B76}"/>
              </a:ext>
            </a:extLst>
          </p:cNvPr>
          <p:cNvSpPr/>
          <p:nvPr userDrawn="1"/>
        </p:nvSpPr>
        <p:spPr>
          <a:xfrm>
            <a:off x="0" y="5278438"/>
            <a:ext cx="12192000" cy="157956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Shadow">
            <a:extLst>
              <a:ext uri="{FF2B5EF4-FFF2-40B4-BE49-F238E27FC236}">
                <a16:creationId xmlns:a16="http://schemas.microsoft.com/office/drawing/2014/main" id="{42F87937-6DDA-45F5-9912-15368BA94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" t="102" r="8742" b="1730"/>
          <a:stretch>
            <a:fillRect/>
          </a:stretch>
        </p:blipFill>
        <p:spPr bwMode="auto">
          <a:xfrm>
            <a:off x="3751263" y="5094288"/>
            <a:ext cx="8440737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:a16="http://schemas.microsoft.com/office/drawing/2014/main" id="{63958906-D713-488B-84C9-6D3DD30C259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404" r="38" b="24950"/>
          <a:stretch>
            <a:fillRect/>
          </a:stretch>
        </p:blipFill>
        <p:spPr bwMode="auto">
          <a:xfrm>
            <a:off x="-17463" y="0"/>
            <a:ext cx="12218988" cy="52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>
            <a:extLst>
              <a:ext uri="{FF2B5EF4-FFF2-40B4-BE49-F238E27FC236}">
                <a16:creationId xmlns:a16="http://schemas.microsoft.com/office/drawing/2014/main" id="{22297AC3-F6AD-4CFC-BA54-CB573B62D786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77875" y="1477963"/>
            <a:ext cx="7915275" cy="4646612"/>
          </a:xfrm>
          <a:prstGeom prst="rect">
            <a:avLst/>
          </a:prstGeom>
          <a:gradFill rotWithShape="0">
            <a:gsLst>
              <a:gs pos="0">
                <a:srgbClr val="071117"/>
              </a:gs>
              <a:gs pos="100000">
                <a:srgbClr val="295E7E">
                  <a:alpha val="89999"/>
                </a:srgbClr>
              </a:gs>
            </a:gsLst>
            <a:lin ang="8400000"/>
          </a:gra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1000"/>
              </a:spcAft>
              <a:defRPr/>
            </a:pPr>
            <a:endParaRPr lang="en-US" alt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2" descr="Image result for министерство труда казахстана logo">
            <a:extLst>
              <a:ext uri="{FF2B5EF4-FFF2-40B4-BE49-F238E27FC236}">
                <a16:creationId xmlns:a16="http://schemas.microsoft.com/office/drawing/2014/main" id="{DBF843DC-3F24-4539-AB3B-0F3D79842A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701800"/>
            <a:ext cx="901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4">
            <a:extLst>
              <a:ext uri="{FF2B5EF4-FFF2-40B4-BE49-F238E27FC236}">
                <a16:creationId xmlns:a16="http://schemas.microsoft.com/office/drawing/2014/main" id="{1DE9D319-9187-476A-AE50-A4A11C17D28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516437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Министерство труда и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социальной защиты населения</a:t>
            </a:r>
            <a:endParaRPr lang="en-US" altLang="en-US" sz="1400" b="1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Республики Казахстан</a:t>
            </a:r>
          </a:p>
        </p:txBody>
      </p:sp>
      <p:sp>
        <p:nvSpPr>
          <p:cNvPr id="13" name="Logo Placeholder"/>
          <p:cNvSpPr>
            <a:spLocks noGrp="1"/>
          </p:cNvSpPr>
          <p:nvPr>
            <p:ph type="pic" sz="quarter" idx="13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967572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:a16="http://schemas.microsoft.com/office/drawing/2014/main" id="{65C6D67A-325D-4EC9-AF5D-71236D1E452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4945B76F-1C70-4913-9538-BB102A2F9F1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D061AFB-586F-443B-AFB9-73D5DE61781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EE4781DF-2FC4-42CE-92BC-7D622B821C0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DF02B9AB-7D34-436C-862C-6F98FFFA8E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783FF00-4377-4FAE-BB0A-7FCF1F9113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03F12F8-C75E-44EE-A826-87FC4F5151E4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791251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8344E7F7-151D-45E6-9EB9-A80E13CA0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18786" name="Object 1" hidden="1">
                        <a:extLst>
                          <a:ext uri="{FF2B5EF4-FFF2-40B4-BE49-F238E27FC236}">
                            <a16:creationId xmlns:a16="http://schemas.microsoft.com/office/drawing/2014/main" id="{EED4360D-E047-4641-BAA8-6B2CB8064D6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Shadow">
            <a:extLst>
              <a:ext uri="{FF2B5EF4-FFF2-40B4-BE49-F238E27FC236}">
                <a16:creationId xmlns:a16="http://schemas.microsoft.com/office/drawing/2014/main" id="{425D6A82-CBEF-4DB6-AB07-7A84A14BC9A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350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rrowPanelWhite">
            <a:extLst>
              <a:ext uri="{FF2B5EF4-FFF2-40B4-BE49-F238E27FC236}">
                <a16:creationId xmlns:a16="http://schemas.microsoft.com/office/drawing/2014/main" id="{B74A7F2E-6673-46BB-82A1-4210651D60BA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>
            <a:extLst>
              <a:ext uri="{FF2B5EF4-FFF2-40B4-BE49-F238E27FC236}">
                <a16:creationId xmlns:a16="http://schemas.microsoft.com/office/drawing/2014/main" id="{36B7ACC7-EE7B-4CA6-85F2-61575740186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623356A-8545-44B2-A84B-20B7A11D51EF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FooterSimple" hidden="1">
            <a:extLst>
              <a:ext uri="{FF2B5EF4-FFF2-40B4-BE49-F238E27FC236}">
                <a16:creationId xmlns:a16="http://schemas.microsoft.com/office/drawing/2014/main" id="{A9736FE7-7EDC-4AEE-9580-4BF61CE3144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0296702C-D668-4EBC-A3E9-35AB9DD6FB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A3A75C4-5AFB-4735-8681-4070A8C6B279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612065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PanelWhite">
            <a:extLst>
              <a:ext uri="{FF2B5EF4-FFF2-40B4-BE49-F238E27FC236}">
                <a16:creationId xmlns:a16="http://schemas.microsoft.com/office/drawing/2014/main" id="{CAC97D61-341B-41C0-BAA4-05E13061AFB0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A070E662-892C-4351-8074-0F4E0C6ADE8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94B3B23-DE67-4EF5-86F5-2B059914DB2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417CD47A-0490-4449-8CC0-38551B7EB82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7" name="Picture 10">
            <a:extLst>
              <a:ext uri="{FF2B5EF4-FFF2-40B4-BE49-F238E27FC236}">
                <a16:creationId xmlns:a16="http://schemas.microsoft.com/office/drawing/2014/main" id="{122949A2-3019-44E4-91B4-48E114213B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AFBE71A1-FB89-4902-B8A7-6DCA52DB5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1D0A3B3-68E1-4424-94FC-91A6905EDCD8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363347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46CBEF97-76C5-42A2-8CC8-DB00EEFB1AD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138" y="3594100"/>
            <a:ext cx="1679575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:a16="http://schemas.microsoft.com/office/drawing/2014/main" id="{53503C2D-F4D5-41D0-B008-1AF7C0AFBE9F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602EEC1C-406A-4F1F-8427-EC4E74FD367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BBD959B-8AC8-4C47-9073-460DBACD0CDF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5523684A-6CF7-4EB0-8C4E-C8CE229B32C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B9F1B6A8-ED91-4253-A6AE-C811780E7F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0663802-9E20-4DDC-AF6C-4F44ED9A209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722533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:a16="http://schemas.microsoft.com/office/drawing/2014/main" id="{B5215B8E-0C17-4248-8438-1C88A2F9209C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28F6E452-714D-4F95-B9A4-1FA968B756A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48D8A43-1D89-4217-AC33-87CDB448C14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BE6CB6A4-E375-44F4-BD05-FB3D7486DAF7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7">
            <a:extLst>
              <a:ext uri="{FF2B5EF4-FFF2-40B4-BE49-F238E27FC236}">
                <a16:creationId xmlns:a16="http://schemas.microsoft.com/office/drawing/2014/main" id="{DEB5AB45-95FF-4720-8D60-384C2904D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5F955464-8F61-4F10-95F2-A0E8192A3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6D7223C-0805-4C19-88D0-B689E3D0F373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435641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B9381FF8-5CB1-42CB-875E-60E9BB0AE59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E0354B6-73CD-4568-A0ED-9AFC03A68FA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7FA2399B-7B7A-43E1-AA26-C8F125E280D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26D2C6-7A72-4047-AB1A-9DF1D0C076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7FBF76F-18F3-4C12-A941-1B543D642C00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014557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F94349C8-2B44-4BE7-894F-232BD59258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1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23906" name="Object 1" hidden="1">
                        <a:extLst>
                          <a:ext uri="{FF2B5EF4-FFF2-40B4-BE49-F238E27FC236}">
                            <a16:creationId xmlns:a16="http://schemas.microsoft.com/office/drawing/2014/main" id="{A1C313B4-9994-4635-B364-FC38D672B6D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0DDCA29C-6679-4CA1-BECE-1BFDE6AFD37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998AFD0-0BCF-4C11-B4D0-98E3122C775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:a16="http://schemas.microsoft.com/office/drawing/2014/main" id="{C017A99D-374E-4AC9-8CEC-02B2D0FAA25D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774700" y="622300"/>
            <a:ext cx="1130300" cy="919163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A2A846FB-A40C-4FCE-A8F5-7FB34C7E91B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8F99F7C-F3D8-4B1C-BEBC-32249AC789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C041571-EBD1-46D3-BBA5-647D4544949C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582578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:a16="http://schemas.microsoft.com/office/drawing/2014/main" id="{5FED2DBA-0EB1-430B-9679-83008B498A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age">
            <a:extLst>
              <a:ext uri="{FF2B5EF4-FFF2-40B4-BE49-F238E27FC236}">
                <a16:creationId xmlns:a16="http://schemas.microsoft.com/office/drawing/2014/main" id="{E8B4A615-B9D1-4FC5-92B9-123AEF52F2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025EA0C-9554-4643-A3DC-701520E0D7E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" name="Bubble">
            <a:extLst>
              <a:ext uri="{FF2B5EF4-FFF2-40B4-BE49-F238E27FC236}">
                <a16:creationId xmlns:a16="http://schemas.microsoft.com/office/drawing/2014/main" id="{CBDA4EA0-02A6-49D8-9CB1-BC2D8232C8ED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5" name="Rectangle 9">
              <a:extLst>
                <a:ext uri="{FF2B5EF4-FFF2-40B4-BE49-F238E27FC236}">
                  <a16:creationId xmlns:a16="http://schemas.microsoft.com/office/drawing/2014/main" id="{5E02D508-DECB-44E3-80B5-63CA09CFCE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6" name="Right Triangle 10">
              <a:extLst>
                <a:ext uri="{FF2B5EF4-FFF2-40B4-BE49-F238E27FC236}">
                  <a16:creationId xmlns:a16="http://schemas.microsoft.com/office/drawing/2014/main" id="{F642B210-D747-4A06-881F-E43A72D1E9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2CDAD28E-6FD1-477A-BB55-AAB834CB61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EE68EC7-AFA6-4DD0-A461-3F31BE17BB46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037720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5C2A996B-C70A-4B58-BE55-4B4E8C623CDC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4D2ACFA-0008-443B-B901-013831329FB2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2148B6C6-ECAA-403D-B847-1C02F15C5F2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2">
            <a:extLst>
              <a:ext uri="{FF2B5EF4-FFF2-40B4-BE49-F238E27FC236}">
                <a16:creationId xmlns:a16="http://schemas.microsoft.com/office/drawing/2014/main" id="{8A630685-528D-48C4-B236-AE586CECAF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193EB11-F92E-4107-B913-D23DCD9A59C9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0729865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:a16="http://schemas.microsoft.com/office/drawing/2014/main" id="{BD73095C-ECFC-4383-A44E-10B0B40A8A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ArrowPanelWhite">
            <a:extLst>
              <a:ext uri="{FF2B5EF4-FFF2-40B4-BE49-F238E27FC236}">
                <a16:creationId xmlns:a16="http://schemas.microsoft.com/office/drawing/2014/main" id="{24387082-3D89-48E1-83C9-6E1E1B2047B1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40ACE82A-A257-4465-8F88-3BA8C382AA1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27B61C6-FB82-4FFD-B481-2595492F145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extBox 12">
            <a:extLst>
              <a:ext uri="{FF2B5EF4-FFF2-40B4-BE49-F238E27FC236}">
                <a16:creationId xmlns:a16="http://schemas.microsoft.com/office/drawing/2014/main" id="{9EEA2F56-D292-4497-A2AD-42C62534E33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2000" y="2711450"/>
            <a:ext cx="2738438" cy="1435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ts val="700"/>
              </a:spcAft>
              <a:defRPr/>
            </a:pPr>
            <a:r>
              <a:rPr lang="en-US" altLang="en-US" sz="4400">
                <a:solidFill>
                  <a:srgbClr val="295E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824C31C7-C172-4B47-A096-65A757B1CF9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A43678EC-14A4-436B-B88F-2119845A27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89CD863-0C25-427B-8993-E50589B31F88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82309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055E7AD6-A7FE-485F-9F4A-E2EF7A7164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8194" name="Object 1" hidden="1">
                        <a:extLst>
                          <a:ext uri="{FF2B5EF4-FFF2-40B4-BE49-F238E27FC236}">
                            <a16:creationId xmlns:a16="http://schemas.microsoft.com/office/drawing/2014/main" id="{4736FF4B-2A98-4DC1-A04B-3D0F4BD5CA2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59F942D9-E9C6-4A80-AC16-74F1F233D1F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86D1513-E481-44FA-AE44-87BC0C56C572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FC05D162-C8A2-43D0-8B1C-8AE3ED32870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C227AB69-66E2-4302-AE65-402E80E02B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B3E2E3E-F2A4-46AE-8645-8A9E04A47A45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332023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>
            <a:extLst>
              <a:ext uri="{FF2B5EF4-FFF2-40B4-BE49-F238E27FC236}">
                <a16:creationId xmlns:a16="http://schemas.microsoft.com/office/drawing/2014/main" id="{5F1E4022-B8BA-4BCB-BE32-91D4B298DE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C30E067-8405-4867-AE6A-C22A4E463FCD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FooterSimple" hidden="1">
            <a:extLst>
              <a:ext uri="{FF2B5EF4-FFF2-40B4-BE49-F238E27FC236}">
                <a16:creationId xmlns:a16="http://schemas.microsoft.com/office/drawing/2014/main" id="{B9EE1D41-3B49-4CFD-B593-6F255B55901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4" name="Date Placeholder 4">
            <a:extLst>
              <a:ext uri="{FF2B5EF4-FFF2-40B4-BE49-F238E27FC236}">
                <a16:creationId xmlns:a16="http://schemas.microsoft.com/office/drawing/2014/main" id="{714D8002-B2A7-456E-A10F-916FAB9CE3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CA4F7D3-AF93-4380-8AC5-823BAD3F5300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956759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F0EE6BA-27F8-4168-9A7A-C12687FD1E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4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29026" name="Object 1" hidden="1">
                        <a:extLst>
                          <a:ext uri="{FF2B5EF4-FFF2-40B4-BE49-F238E27FC236}">
                            <a16:creationId xmlns:a16="http://schemas.microsoft.com/office/drawing/2014/main" id="{6520D91A-B984-4047-AEDD-CC46587DA3B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D3AFECE2-F8A6-443E-8BB6-763CB288C5C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AFD9609-58E0-4E5A-8CBA-63A7BCA37CE2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03610148-F72D-404A-B757-56BFF53E5E2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Date Placeholder 6">
            <a:extLst>
              <a:ext uri="{FF2B5EF4-FFF2-40B4-BE49-F238E27FC236}">
                <a16:creationId xmlns:a16="http://schemas.microsoft.com/office/drawing/2014/main" id="{F0936DA3-D2E5-48AF-A9C3-D0769E2F05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E256AC58-F398-47AF-A1C8-A0EA28D53D94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1495146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0BCEC9F-E920-4417-984E-E772CE970A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6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30050" name="Object 1" hidden="1">
                        <a:extLst>
                          <a:ext uri="{FF2B5EF4-FFF2-40B4-BE49-F238E27FC236}">
                            <a16:creationId xmlns:a16="http://schemas.microsoft.com/office/drawing/2014/main" id="{7B7C471A-5B54-4F7D-A851-294BD3070CD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CCEB0AAB-1B0C-4D3E-BB8B-7E414C6B85A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C24519D-A095-40F3-A8A4-99B74F044D17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AADAEAE8-3768-46EE-9597-D7B5F348088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</p:spTree>
    <p:extLst>
      <p:ext uri="{BB962C8B-B14F-4D97-AF65-F5344CB8AC3E}">
        <p14:creationId xmlns:p14="http://schemas.microsoft.com/office/powerpoint/2010/main" val="2733161726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4315057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B2513FA-42C3-4673-BD11-768357233D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8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32098" name="Object 1" hidden="1">
                        <a:extLst>
                          <a:ext uri="{FF2B5EF4-FFF2-40B4-BE49-F238E27FC236}">
                            <a16:creationId xmlns:a16="http://schemas.microsoft.com/office/drawing/2014/main" id="{FA35E0B2-2386-46E5-BCFE-E6BF95B2D68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200717C3-3FDD-437F-ADF4-3863A41D7AB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9F78750-A744-46D5-816A-2DF0B9FCF65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" name="A4Grid">
            <a:extLst>
              <a:ext uri="{FF2B5EF4-FFF2-40B4-BE49-F238E27FC236}">
                <a16:creationId xmlns:a16="http://schemas.microsoft.com/office/drawing/2014/main" id="{C3D6EF88-E9EC-4BF3-8AAA-05D23618AF39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5" name="Slide edges">
              <a:extLst>
                <a:ext uri="{FF2B5EF4-FFF2-40B4-BE49-F238E27FC236}">
                  <a16:creationId xmlns:a16="http://schemas.microsoft.com/office/drawing/2014/main" id="{E5450F10-29A7-4CF4-921B-1D14F9960DD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6" name="No-fly zone">
              <a:extLst>
                <a:ext uri="{FF2B5EF4-FFF2-40B4-BE49-F238E27FC236}">
                  <a16:creationId xmlns:a16="http://schemas.microsoft.com/office/drawing/2014/main" id="{06814D04-2385-4821-BB24-264FE0AA7D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29400 w 9906000"/>
                <a:gd name="T1" fmla="*/ 622800 h 6858000"/>
                <a:gd name="T2" fmla="*/ 629400 w 9906000"/>
                <a:gd name="T3" fmla="*/ 6156000 h 6858000"/>
                <a:gd name="T4" fmla="*/ 9276600 w 9906000"/>
                <a:gd name="T5" fmla="*/ 6156000 h 6858000"/>
                <a:gd name="T6" fmla="*/ 9276600 w 9906000"/>
                <a:gd name="T7" fmla="*/ 622800 h 6858000"/>
                <a:gd name="T8" fmla="*/ 0 w 9906000"/>
                <a:gd name="T9" fmla="*/ 0 h 6858000"/>
                <a:gd name="T10" fmla="*/ 629400 w 9906000"/>
                <a:gd name="T11" fmla="*/ 0 h 6858000"/>
                <a:gd name="T12" fmla="*/ 629400 w 9906000"/>
                <a:gd name="T13" fmla="*/ 0 h 6858000"/>
                <a:gd name="T14" fmla="*/ 9276600 w 9906000"/>
                <a:gd name="T15" fmla="*/ 0 h 6858000"/>
                <a:gd name="T16" fmla="*/ 9906000 w 9906000"/>
                <a:gd name="T17" fmla="*/ 0 h 6858000"/>
                <a:gd name="T18" fmla="*/ 9906000 w 9906000"/>
                <a:gd name="T19" fmla="*/ 622800 h 6858000"/>
                <a:gd name="T20" fmla="*/ 9906000 w 9906000"/>
                <a:gd name="T21" fmla="*/ 6156000 h 6858000"/>
                <a:gd name="T22" fmla="*/ 9906000 w 9906000"/>
                <a:gd name="T23" fmla="*/ 6858000 h 6858000"/>
                <a:gd name="T24" fmla="*/ 9276600 w 9906000"/>
                <a:gd name="T25" fmla="*/ 6858000 h 6858000"/>
                <a:gd name="T26" fmla="*/ 629400 w 9906000"/>
                <a:gd name="T27" fmla="*/ 6858000 h 6858000"/>
                <a:gd name="T28" fmla="*/ 0 w 9906000"/>
                <a:gd name="T29" fmla="*/ 6858000 h 6858000"/>
                <a:gd name="T30" fmla="*/ 0 w 9906000"/>
                <a:gd name="T31" fmla="*/ 6858000 h 6858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lnTo>
                    <a:pt x="6294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" name="Footnote measure">
              <a:extLst>
                <a:ext uri="{FF2B5EF4-FFF2-40B4-BE49-F238E27FC236}">
                  <a16:creationId xmlns:a16="http://schemas.microsoft.com/office/drawing/2014/main" id="{11BFE9A1-29ED-477D-B74D-B2015FEA30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8" name="Whitespace measure">
              <a:extLst>
                <a:ext uri="{FF2B5EF4-FFF2-40B4-BE49-F238E27FC236}">
                  <a16:creationId xmlns:a16="http://schemas.microsoft.com/office/drawing/2014/main" id="{B45E4381-6341-4C7C-AD7C-2455D46217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545454"/>
                </a:solidFill>
                <a:latin typeface="Trebuchet MS"/>
              </a:endParaRPr>
            </a:p>
          </p:txBody>
        </p:sp>
        <p:grpSp>
          <p:nvGrpSpPr>
            <p:cNvPr id="9" name="Gutter space">
              <a:extLst>
                <a:ext uri="{FF2B5EF4-FFF2-40B4-BE49-F238E27FC236}">
                  <a16:creationId xmlns:a16="http://schemas.microsoft.com/office/drawing/2014/main" id="{494496D3-E2A1-4647-A184-B605E1F51405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39" name="Gutter 11">
                <a:extLst>
                  <a:ext uri="{FF2B5EF4-FFF2-40B4-BE49-F238E27FC236}">
                    <a16:creationId xmlns:a16="http://schemas.microsoft.com/office/drawing/2014/main" id="{18611AE0-5FDF-4E22-9AF9-822A30F38D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0" name="Gutter 10">
                <a:extLst>
                  <a:ext uri="{FF2B5EF4-FFF2-40B4-BE49-F238E27FC236}">
                    <a16:creationId xmlns:a16="http://schemas.microsoft.com/office/drawing/2014/main" id="{A794F6CF-763C-4344-8CA6-6091842F84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1" name="Gutter 9">
                <a:extLst>
                  <a:ext uri="{FF2B5EF4-FFF2-40B4-BE49-F238E27FC236}">
                    <a16:creationId xmlns:a16="http://schemas.microsoft.com/office/drawing/2014/main" id="{80EE2012-5B85-4A4C-83EA-791F71095B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2" name="Gutter 8">
                <a:extLst>
                  <a:ext uri="{FF2B5EF4-FFF2-40B4-BE49-F238E27FC236}">
                    <a16:creationId xmlns:a16="http://schemas.microsoft.com/office/drawing/2014/main" id="{6EAC63BD-5687-47BA-8C0F-94482F5351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3" name="Gutter 7">
                <a:extLst>
                  <a:ext uri="{FF2B5EF4-FFF2-40B4-BE49-F238E27FC236}">
                    <a16:creationId xmlns:a16="http://schemas.microsoft.com/office/drawing/2014/main" id="{0ABE8A9B-A595-433D-A0CF-0D0CFEEF0D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4" name="Gutter 6">
                <a:extLst>
                  <a:ext uri="{FF2B5EF4-FFF2-40B4-BE49-F238E27FC236}">
                    <a16:creationId xmlns:a16="http://schemas.microsoft.com/office/drawing/2014/main" id="{D54F7BA1-C6F0-4ABD-BDE9-4D51BB8674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5" name="Gutter 5">
                <a:extLst>
                  <a:ext uri="{FF2B5EF4-FFF2-40B4-BE49-F238E27FC236}">
                    <a16:creationId xmlns:a16="http://schemas.microsoft.com/office/drawing/2014/main" id="{83BDFA94-FD42-4A5A-9B8D-76D34A1D25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6" name="Gutter 4">
                <a:extLst>
                  <a:ext uri="{FF2B5EF4-FFF2-40B4-BE49-F238E27FC236}">
                    <a16:creationId xmlns:a16="http://schemas.microsoft.com/office/drawing/2014/main" id="{213CC6B8-E4AC-4648-A40A-709682B3C9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7" name="Gutter 3">
                <a:extLst>
                  <a:ext uri="{FF2B5EF4-FFF2-40B4-BE49-F238E27FC236}">
                    <a16:creationId xmlns:a16="http://schemas.microsoft.com/office/drawing/2014/main" id="{7C4F438E-7733-429C-9ADB-040EC8B5D0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8" name="Gutter 2">
                <a:extLst>
                  <a:ext uri="{FF2B5EF4-FFF2-40B4-BE49-F238E27FC236}">
                    <a16:creationId xmlns:a16="http://schemas.microsoft.com/office/drawing/2014/main" id="{D73D52FA-1732-4223-B3E4-3588A673B3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9" name="Gutter 1">
                <a:extLst>
                  <a:ext uri="{FF2B5EF4-FFF2-40B4-BE49-F238E27FC236}">
                    <a16:creationId xmlns:a16="http://schemas.microsoft.com/office/drawing/2014/main" id="{17B6225E-57EE-45D1-A8B5-DB68482D59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grpSp>
          <p:nvGrpSpPr>
            <p:cNvPr id="10" name="Baselines/Anchors">
              <a:extLst>
                <a:ext uri="{FF2B5EF4-FFF2-40B4-BE49-F238E27FC236}">
                  <a16:creationId xmlns:a16="http://schemas.microsoft.com/office/drawing/2014/main" id="{B0DA7F84-784C-49C1-A48D-5635686C917A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19" name="Line 20">
                <a:extLst>
                  <a:ext uri="{FF2B5EF4-FFF2-40B4-BE49-F238E27FC236}">
                    <a16:creationId xmlns:a16="http://schemas.microsoft.com/office/drawing/2014/main" id="{F2F461BD-EA68-4EE1-AA8D-F1352140EE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0" name="Line 19">
                <a:extLst>
                  <a:ext uri="{FF2B5EF4-FFF2-40B4-BE49-F238E27FC236}">
                    <a16:creationId xmlns:a16="http://schemas.microsoft.com/office/drawing/2014/main" id="{BD86936D-2350-4F0B-9B26-D5BAAE4711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1" name="Line 18">
                <a:extLst>
                  <a:ext uri="{FF2B5EF4-FFF2-40B4-BE49-F238E27FC236}">
                    <a16:creationId xmlns:a16="http://schemas.microsoft.com/office/drawing/2014/main" id="{5B5B3AED-80ED-42D2-815A-6E84D327B2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Line 17">
                <a:extLst>
                  <a:ext uri="{FF2B5EF4-FFF2-40B4-BE49-F238E27FC236}">
                    <a16:creationId xmlns:a16="http://schemas.microsoft.com/office/drawing/2014/main" id="{9EF7D909-BE6A-4DE2-96BB-A7EB7D391E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" name="Line 16">
                <a:extLst>
                  <a:ext uri="{FF2B5EF4-FFF2-40B4-BE49-F238E27FC236}">
                    <a16:creationId xmlns:a16="http://schemas.microsoft.com/office/drawing/2014/main" id="{27BBEC21-5FDA-47DD-87DD-4AA8B4A07F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Line 15">
                <a:extLst>
                  <a:ext uri="{FF2B5EF4-FFF2-40B4-BE49-F238E27FC236}">
                    <a16:creationId xmlns:a16="http://schemas.microsoft.com/office/drawing/2014/main" id="{40B3BCC3-B875-4EBB-A560-8A5050F68C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5" name="Line 14">
                <a:extLst>
                  <a:ext uri="{FF2B5EF4-FFF2-40B4-BE49-F238E27FC236}">
                    <a16:creationId xmlns:a16="http://schemas.microsoft.com/office/drawing/2014/main" id="{640F41F7-9E9E-40A5-8BAF-ED080E7401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Line 13">
                <a:extLst>
                  <a:ext uri="{FF2B5EF4-FFF2-40B4-BE49-F238E27FC236}">
                    <a16:creationId xmlns:a16="http://schemas.microsoft.com/office/drawing/2014/main" id="{F45FF175-1779-425E-B6E1-C9448E75DC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7" name="Line 12">
                <a:extLst>
                  <a:ext uri="{FF2B5EF4-FFF2-40B4-BE49-F238E27FC236}">
                    <a16:creationId xmlns:a16="http://schemas.microsoft.com/office/drawing/2014/main" id="{E61BA1B2-EDF4-4B40-B2A7-5F52E6AC429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8" name="Line 11">
                <a:extLst>
                  <a:ext uri="{FF2B5EF4-FFF2-40B4-BE49-F238E27FC236}">
                    <a16:creationId xmlns:a16="http://schemas.microsoft.com/office/drawing/2014/main" id="{7052DAB2-BDD2-46FC-AE03-54D8511BAB3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9" name="Line 10">
                <a:extLst>
                  <a:ext uri="{FF2B5EF4-FFF2-40B4-BE49-F238E27FC236}">
                    <a16:creationId xmlns:a16="http://schemas.microsoft.com/office/drawing/2014/main" id="{D87E0F12-E4DE-4E7C-9EC4-A72E5528326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0" name="Line 9">
                <a:extLst>
                  <a:ext uri="{FF2B5EF4-FFF2-40B4-BE49-F238E27FC236}">
                    <a16:creationId xmlns:a16="http://schemas.microsoft.com/office/drawing/2014/main" id="{F0294EAB-F9C0-4CEE-A7D5-FBE67FFDCB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Line 8">
                <a:extLst>
                  <a:ext uri="{FF2B5EF4-FFF2-40B4-BE49-F238E27FC236}">
                    <a16:creationId xmlns:a16="http://schemas.microsoft.com/office/drawing/2014/main" id="{121DD344-205C-4B5C-9136-E6430A05B34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2" name="Line 7">
                <a:extLst>
                  <a:ext uri="{FF2B5EF4-FFF2-40B4-BE49-F238E27FC236}">
                    <a16:creationId xmlns:a16="http://schemas.microsoft.com/office/drawing/2014/main" id="{EC46B465-20B2-4E23-859F-3D2E299529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" name="Line 6">
                <a:extLst>
                  <a:ext uri="{FF2B5EF4-FFF2-40B4-BE49-F238E27FC236}">
                    <a16:creationId xmlns:a16="http://schemas.microsoft.com/office/drawing/2014/main" id="{9B1FB39E-6731-450A-9CC6-F94CBBDF902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4" name="Line 5">
                <a:extLst>
                  <a:ext uri="{FF2B5EF4-FFF2-40B4-BE49-F238E27FC236}">
                    <a16:creationId xmlns:a16="http://schemas.microsoft.com/office/drawing/2014/main" id="{33089DEC-BC88-44EA-9B51-54F110E16F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Line 4">
                <a:extLst>
                  <a:ext uri="{FF2B5EF4-FFF2-40B4-BE49-F238E27FC236}">
                    <a16:creationId xmlns:a16="http://schemas.microsoft.com/office/drawing/2014/main" id="{3DB5569D-F8E8-4B5A-9035-87D0AB9986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Line 3">
                <a:extLst>
                  <a:ext uri="{FF2B5EF4-FFF2-40B4-BE49-F238E27FC236}">
                    <a16:creationId xmlns:a16="http://schemas.microsoft.com/office/drawing/2014/main" id="{5DD708A4-8466-4CC8-A466-8EF362BC43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7" name="Line 2">
                <a:extLst>
                  <a:ext uri="{FF2B5EF4-FFF2-40B4-BE49-F238E27FC236}">
                    <a16:creationId xmlns:a16="http://schemas.microsoft.com/office/drawing/2014/main" id="{9503D7D1-5D33-4B06-A893-65A245E93AC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Line 1">
                <a:extLst>
                  <a:ext uri="{FF2B5EF4-FFF2-40B4-BE49-F238E27FC236}">
                    <a16:creationId xmlns:a16="http://schemas.microsoft.com/office/drawing/2014/main" id="{7855E0B1-3D4C-42A0-A826-D2758ED54D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8849D3FF-1FCF-4EA8-AD43-4C46401B8CD8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4" name="Column 5">
                <a:extLst>
                  <a:ext uri="{FF2B5EF4-FFF2-40B4-BE49-F238E27FC236}">
                    <a16:creationId xmlns:a16="http://schemas.microsoft.com/office/drawing/2014/main" id="{81677D9E-236C-4B89-9707-33977C9848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5" name="Column 4">
                <a:extLst>
                  <a:ext uri="{FF2B5EF4-FFF2-40B4-BE49-F238E27FC236}">
                    <a16:creationId xmlns:a16="http://schemas.microsoft.com/office/drawing/2014/main" id="{C2579F36-55E2-4409-875E-5C6B191AF4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6" name="Column 3">
                <a:extLst>
                  <a:ext uri="{FF2B5EF4-FFF2-40B4-BE49-F238E27FC236}">
                    <a16:creationId xmlns:a16="http://schemas.microsoft.com/office/drawing/2014/main" id="{FC904DAB-EE49-44DD-A08C-8BB29E94B9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7" name="Column 2">
                <a:extLst>
                  <a:ext uri="{FF2B5EF4-FFF2-40B4-BE49-F238E27FC236}">
                    <a16:creationId xmlns:a16="http://schemas.microsoft.com/office/drawing/2014/main" id="{E33C8E38-B14C-4987-B98B-6F86CA49C0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8" name="Column 1">
                <a:extLst>
                  <a:ext uri="{FF2B5EF4-FFF2-40B4-BE49-F238E27FC236}">
                    <a16:creationId xmlns:a16="http://schemas.microsoft.com/office/drawing/2014/main" id="{E56FDEBF-3C88-4D11-8354-0CEC2084BF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sp>
          <p:nvSpPr>
            <p:cNvPr id="12" name="Live space">
              <a:extLst>
                <a:ext uri="{FF2B5EF4-FFF2-40B4-BE49-F238E27FC236}">
                  <a16:creationId xmlns:a16="http://schemas.microsoft.com/office/drawing/2014/main" id="{EB428E32-3975-4CD4-A520-67B2D7500757}"/>
                </a:ext>
              </a:extLst>
            </p:cNvPr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rgbClr val="545454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:a16="http://schemas.microsoft.com/office/drawing/2014/main" id="{FB86B22B-32FE-4485-B084-12869D54CF6D}"/>
                </a:ext>
              </a:extLst>
            </p:cNvPr>
            <p:cNvSpPr txBox="1">
              <a:spLocks noChangeAspect="1"/>
            </p:cNvSpPr>
            <p:nvPr userDrawn="1"/>
          </p:nvSpPr>
          <p:spPr bwMode="auto">
            <a:xfrm>
              <a:off x="629444" y="6099175"/>
              <a:ext cx="7283748" cy="4619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lang="en-US" altLang="en-US" sz="10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0" name="FooterSimple" hidden="1">
            <a:extLst>
              <a:ext uri="{FF2B5EF4-FFF2-40B4-BE49-F238E27FC236}">
                <a16:creationId xmlns:a16="http://schemas.microsoft.com/office/drawing/2014/main" id="{198A8E26-F2D9-48B7-91B4-CE8F1476A4C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1" name="Date Placeholder 1">
            <a:extLst>
              <a:ext uri="{FF2B5EF4-FFF2-40B4-BE49-F238E27FC236}">
                <a16:creationId xmlns:a16="http://schemas.microsoft.com/office/drawing/2014/main" id="{C0BC52E4-7916-4C00-8BD8-8FE05A7705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ED34DB5-316C-4E10-BD0A-7DE15453D2E9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416168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E8C08DA7-849A-4FEA-BAE2-435A661651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3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133122" name="Object 2" hidden="1">
                        <a:extLst>
                          <a:ext uri="{FF2B5EF4-FFF2-40B4-BE49-F238E27FC236}">
                            <a16:creationId xmlns:a16="http://schemas.microsoft.com/office/drawing/2014/main" id="{A458C658-6C89-4170-BEB6-4F56678DF04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7CF23C2F-76A6-47EC-8C5C-8F1AD7F91740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9CA72BB-7B99-4D53-9B99-D8A6A6ADBC18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2EFC0566-E2EF-43F9-B5B2-472679DFE36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4C263B49-3356-42E8-92F1-5A0F1FCEAD6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BE2785AA-4261-4DA6-8505-01D8B30FE75F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CE8B9A12-81F4-4F4C-881B-B79AF724EE58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 dirty="0">
                <a:solidFill>
                  <a:srgbClr val="FFFFFF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5850168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397B6482-D9A5-431C-B2A8-372CFD1218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37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134146" name="Object 2" hidden="1">
                        <a:extLst>
                          <a:ext uri="{FF2B5EF4-FFF2-40B4-BE49-F238E27FC236}">
                            <a16:creationId xmlns:a16="http://schemas.microsoft.com/office/drawing/2014/main" id="{56515F01-F8E3-4D90-AB29-16EF7B3B4A1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839B05D9-1760-4AA4-B920-6E03499ABCEC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E31B454-5D97-4C1B-8E56-ABAC02C41EB0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572A9ADE-C0C4-4EFB-B4C5-B0665D291B4A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21B78E14-E096-4D29-B4B7-66B6F33D79E2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eaLnBrk="1" fontAlgn="auto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C3285B8F-AF70-4231-B7CB-9B0EEDE395E8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217780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CB306880-08E5-4DAF-A416-5994132645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61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135170" name="Object 2" hidden="1">
                        <a:extLst>
                          <a:ext uri="{FF2B5EF4-FFF2-40B4-BE49-F238E27FC236}">
                            <a16:creationId xmlns:a16="http://schemas.microsoft.com/office/drawing/2014/main" id="{A0EB54E1-A0F2-4F9F-A5E9-8EEC3B7AB8E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D7CD848C-DBA0-4B6B-A76C-348135AF3B2E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4DCB613-E70D-4D47-A00F-25162B6248A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C07B427E-11D9-480C-A8EB-DC79EC2158E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cxnSp>
        <p:nvCxnSpPr>
          <p:cNvPr id="5" name="Straight Connector 9">
            <a:extLst>
              <a:ext uri="{FF2B5EF4-FFF2-40B4-BE49-F238E27FC236}">
                <a16:creationId xmlns:a16="http://schemas.microsoft.com/office/drawing/2014/main" id="{91667315-0357-44C5-9BC1-2DED99EB84D2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10">
            <a:extLst>
              <a:ext uri="{FF2B5EF4-FFF2-40B4-BE49-F238E27FC236}">
                <a16:creationId xmlns:a16="http://schemas.microsoft.com/office/drawing/2014/main" id="{3595C614-9B97-484B-BFA1-BAF9932E02A4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800">
                <a:solidFill>
                  <a:prstClr val="white">
                    <a:lumMod val="100000"/>
                  </a:prst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55577418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EEC4AB2-D8C2-4EDD-9131-E84C2D1F61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36194" name="Object 1" hidden="1">
                        <a:extLst>
                          <a:ext uri="{FF2B5EF4-FFF2-40B4-BE49-F238E27FC236}">
                            <a16:creationId xmlns:a16="http://schemas.microsoft.com/office/drawing/2014/main" id="{FFB51D53-A60B-470B-93C6-E681A7A1DB3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:a16="http://schemas.microsoft.com/office/drawing/2014/main" id="{F2AFD6F3-C119-47F3-8CEB-5A8862E173C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51D15BC7-6F76-4B7C-8461-6AEC6F251D8B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800837E1-5685-45FF-BD44-B8BD988CA47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511F6A0-CA03-40F2-9670-760A695A49A1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AD4DE9C4-0C89-48BC-A66B-099FA4EE3DB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extBox 14">
            <a:extLst>
              <a:ext uri="{FF2B5EF4-FFF2-40B4-BE49-F238E27FC236}">
                <a16:creationId xmlns:a16="http://schemas.microsoft.com/office/drawing/2014/main" id="{7698710C-2EF3-458A-B456-BE0D0C0F50F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4700" y="2681288"/>
            <a:ext cx="3044825" cy="149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2800">
                <a:solidFill>
                  <a:srgbClr val="FFFFFF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54356019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71C84C6-7C8B-408B-AAE6-0B57145BE5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40" name="Слайд think-cell" r:id="rId9" imgW="360" imgH="360" progId="TCLayout.ActiveDocument.1">
                  <p:embed/>
                </p:oleObj>
              </mc:Choice>
              <mc:Fallback>
                <p:oleObj name="Слайд think-cell" r:id="rId9" imgW="360" imgH="360" progId="TCLayout.ActiveDocument.1">
                  <p:embed/>
                  <p:pic>
                    <p:nvPicPr>
                      <p:cNvPr id="137218" name="Object 1" hidden="1">
                        <a:extLst>
                          <a:ext uri="{FF2B5EF4-FFF2-40B4-BE49-F238E27FC236}">
                            <a16:creationId xmlns:a16="http://schemas.microsoft.com/office/drawing/2014/main" id="{ED84F492-D77B-4C08-BEC6-637E23246A5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C433E9BE-73A1-4FC9-B53E-5ABAB31D564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36A3FF3-158D-4066-A337-4C5CF36A2812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DE3310-F28A-4722-A076-EDB632D663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4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137220" name="Object 3" hidden="1">
                        <a:extLst>
                          <a:ext uri="{FF2B5EF4-FFF2-40B4-BE49-F238E27FC236}">
                            <a16:creationId xmlns:a16="http://schemas.microsoft.com/office/drawing/2014/main" id="{04090D13-61F4-409E-8442-0AFD22B0D00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A1C250C0-54D3-4C41-B319-6D7C9661BBCC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2B3EC65A-D2AE-464F-9DB1-C3B0380793D9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E5998765-3B38-4BB4-ABB0-A848D72BBF19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F4A324CB-25E4-4CE0-BBB6-12A29D5E9A14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8082692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74B520B0-D8B5-46A2-B9F4-25BDAD7229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9218" name="Object 1" hidden="1">
                        <a:extLst>
                          <a:ext uri="{FF2B5EF4-FFF2-40B4-BE49-F238E27FC236}">
                            <a16:creationId xmlns:a16="http://schemas.microsoft.com/office/drawing/2014/main" id="{0B9276A0-0999-4021-A7B2-6221473A60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5354809F-81E6-4057-B686-360D0BE715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166EAC2-530C-486A-9771-4454ACA6B356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PanelGray">
            <a:extLst>
              <a:ext uri="{FF2B5EF4-FFF2-40B4-BE49-F238E27FC236}">
                <a16:creationId xmlns:a16="http://schemas.microsoft.com/office/drawing/2014/main" id="{7DB02DF0-E47E-4666-ADCD-EBBF38010A77}"/>
              </a:ext>
            </a:extLst>
          </p:cNvPr>
          <p:cNvSpPr/>
          <p:nvPr userDrawn="1"/>
        </p:nvSpPr>
        <p:spPr bwMode="ltGray">
          <a:xfrm>
            <a:off x="0" y="0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9C586C0E-68C3-49D2-B60F-C5B39DCED933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 bwMode="ltGray">
          <a:xfrm>
            <a:off x="775384" y="1544274"/>
            <a:ext cx="3359506" cy="1495794"/>
          </a:xfrm>
          <a:noFill/>
        </p:spPr>
        <p:txBody>
          <a:bodyPr rIns="320040" anchor="b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CE698856-5729-4E20-963D-58115D4EB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21F4C8B-A628-4932-8A96-DC381BE2CF64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2454151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8B8CA09-D461-40C8-9413-C75AE3C22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4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138242" name="Object 1" hidden="1">
                        <a:extLst>
                          <a:ext uri="{FF2B5EF4-FFF2-40B4-BE49-F238E27FC236}">
                            <a16:creationId xmlns:a16="http://schemas.microsoft.com/office/drawing/2014/main" id="{6A6CC770-CEE6-45EF-BA3E-A8E51C04985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AE4D30CB-5239-449F-8754-AA27CC1978F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E57B22D-9D50-405C-AFCB-A0CC5B0F2FD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262A87-7C50-498C-9CD2-EC1290685F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138244" name="Object 3" hidden="1">
                        <a:extLst>
                          <a:ext uri="{FF2B5EF4-FFF2-40B4-BE49-F238E27FC236}">
                            <a16:creationId xmlns:a16="http://schemas.microsoft.com/office/drawing/2014/main" id="{1033833F-1897-4778-A2CA-B92B427117C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D12055EB-0188-43DD-AAED-BA7C5A9FCF43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5295B34D-DF2F-4545-AC0F-895CA1BB0116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eaLnBrk="1" fontAlgn="auto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4E98C6">
                  <a:lumMod val="10000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10E2B36D-FF3A-4928-BEA6-01A1C6126BE9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001726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767DFB5-1583-46E5-9050-FEB05743B0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88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139266" name="Object 1" hidden="1">
                        <a:extLst>
                          <a:ext uri="{FF2B5EF4-FFF2-40B4-BE49-F238E27FC236}">
                            <a16:creationId xmlns:a16="http://schemas.microsoft.com/office/drawing/2014/main" id="{A40265CF-83C3-44FE-A7D7-7C5E6794086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0F3AA3A2-91CA-4376-8ADC-3F638F2215E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BB9CC60-43F3-4399-9C43-5FF37BE96DD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8D724A0-EDC3-49DA-98EB-11D60E35E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8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139268" name="Object 3" hidden="1">
                        <a:extLst>
                          <a:ext uri="{FF2B5EF4-FFF2-40B4-BE49-F238E27FC236}">
                            <a16:creationId xmlns:a16="http://schemas.microsoft.com/office/drawing/2014/main" id="{6AD5BBFD-FFFD-4B3E-A011-E88A9191769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91641F96-18BC-4CFC-84FB-A62CB9592C57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cxnSp>
        <p:nvCxnSpPr>
          <p:cNvPr id="6" name="Straight Connector 7">
            <a:extLst>
              <a:ext uri="{FF2B5EF4-FFF2-40B4-BE49-F238E27FC236}">
                <a16:creationId xmlns:a16="http://schemas.microsoft.com/office/drawing/2014/main" id="{3D3B2772-C7C6-451C-9D88-364CCCC044B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8">
            <a:extLst>
              <a:ext uri="{FF2B5EF4-FFF2-40B4-BE49-F238E27FC236}">
                <a16:creationId xmlns:a16="http://schemas.microsoft.com/office/drawing/2014/main" id="{4FEA3572-D36B-47A3-91AE-0B7505FEA8C3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4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76874409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BF92651-5A03-41ED-8A24-E0BF8FF5BC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8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40290" name="Object 1" hidden="1">
                        <a:extLst>
                          <a:ext uri="{FF2B5EF4-FFF2-40B4-BE49-F238E27FC236}">
                            <a16:creationId xmlns:a16="http://schemas.microsoft.com/office/drawing/2014/main" id="{B08E59A3-0E3B-45C9-8CEB-329DBC0C6C0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:a16="http://schemas.microsoft.com/office/drawing/2014/main" id="{BAEA48A7-FEB2-4872-A4C2-01A36403582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:a16="http://schemas.microsoft.com/office/drawing/2014/main" id="{D19AC236-B9C3-45CE-B93E-D7D400B9485C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CF978A3E-64A6-4F6D-BBD8-7E60C58B519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EC2106D-04E5-4464-825D-0F981B4B089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2C1049F9-F07A-4E56-B54C-DAD5FD1FB33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extBox 14">
            <a:extLst>
              <a:ext uri="{FF2B5EF4-FFF2-40B4-BE49-F238E27FC236}">
                <a16:creationId xmlns:a16="http://schemas.microsoft.com/office/drawing/2014/main" id="{98B0877F-683C-477D-95BB-615BDD54922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4700" y="2681288"/>
            <a:ext cx="3044825" cy="149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2400">
                <a:solidFill>
                  <a:srgbClr val="FFFFFF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28858424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F906256-BF85-48B2-ACB1-B4546FF44D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0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41314" name="Object 1" hidden="1">
                        <a:extLst>
                          <a:ext uri="{FF2B5EF4-FFF2-40B4-BE49-F238E27FC236}">
                            <a16:creationId xmlns:a16="http://schemas.microsoft.com/office/drawing/2014/main" id="{4E0EC820-4AB5-4E0E-953E-B533E2E7382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:a16="http://schemas.microsoft.com/office/drawing/2014/main" id="{D5C2573A-AA53-4926-A260-4474DED6389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:a16="http://schemas.microsoft.com/office/drawing/2014/main" id="{B91FBDC4-B404-4C25-8E94-427A86F0A399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5852B7B9-EB0E-420F-86FA-EABEAB6A405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9B3A423-AB59-45AE-8D37-26E8806C35B7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TextBox 13">
            <a:extLst>
              <a:ext uri="{FF2B5EF4-FFF2-40B4-BE49-F238E27FC236}">
                <a16:creationId xmlns:a16="http://schemas.microsoft.com/office/drawing/2014/main" id="{06C9751C-869C-4511-9704-1063BEE93C2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2000" y="2711450"/>
            <a:ext cx="2738438" cy="1435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ts val="700"/>
              </a:spcAft>
              <a:defRPr/>
            </a:pPr>
            <a:r>
              <a:rPr lang="en-US" altLang="en-US" sz="4400">
                <a:solidFill>
                  <a:srgbClr val="295E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D00BF744-C1E9-436B-8A8B-BA1987F2722B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</p:spTree>
    <p:extLst>
      <p:ext uri="{BB962C8B-B14F-4D97-AF65-F5344CB8AC3E}">
        <p14:creationId xmlns:p14="http://schemas.microsoft.com/office/powerpoint/2010/main" val="717185460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nelWhite">
            <a:extLst>
              <a:ext uri="{FF2B5EF4-FFF2-40B4-BE49-F238E27FC236}">
                <a16:creationId xmlns:a16="http://schemas.microsoft.com/office/drawing/2014/main" id="{66C3E55C-66FA-44D2-A000-A6C8BFF6C93B}"/>
              </a:ext>
            </a:extLst>
          </p:cNvPr>
          <p:cNvSpPr/>
          <p:nvPr userDrawn="1"/>
        </p:nvSpPr>
        <p:spPr>
          <a:xfrm>
            <a:off x="0" y="5278438"/>
            <a:ext cx="12192000" cy="157956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Shadow">
            <a:extLst>
              <a:ext uri="{FF2B5EF4-FFF2-40B4-BE49-F238E27FC236}">
                <a16:creationId xmlns:a16="http://schemas.microsoft.com/office/drawing/2014/main" id="{DD4D8977-22E9-4F9B-927C-1275F9F100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" t="102" r="8742" b="1730"/>
          <a:stretch>
            <a:fillRect/>
          </a:stretch>
        </p:blipFill>
        <p:spPr bwMode="auto">
          <a:xfrm>
            <a:off x="3751263" y="5094288"/>
            <a:ext cx="8440737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:a16="http://schemas.microsoft.com/office/drawing/2014/main" id="{6B54DEA9-202A-412A-A5AA-558E8AAC21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404" r="38" b="24950"/>
          <a:stretch>
            <a:fillRect/>
          </a:stretch>
        </p:blipFill>
        <p:spPr bwMode="auto">
          <a:xfrm>
            <a:off x="-17463" y="0"/>
            <a:ext cx="12218988" cy="52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>
            <a:extLst>
              <a:ext uri="{FF2B5EF4-FFF2-40B4-BE49-F238E27FC236}">
                <a16:creationId xmlns:a16="http://schemas.microsoft.com/office/drawing/2014/main" id="{C11DDD5F-AF56-462F-ACFE-1F338612E972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71525" y="1509713"/>
            <a:ext cx="7913688" cy="4646612"/>
          </a:xfrm>
          <a:prstGeom prst="rect">
            <a:avLst/>
          </a:prstGeom>
          <a:gradFill rotWithShape="0">
            <a:gsLst>
              <a:gs pos="0">
                <a:srgbClr val="071117"/>
              </a:gs>
              <a:gs pos="100000">
                <a:srgbClr val="295E7E">
                  <a:alpha val="89999"/>
                </a:srgbClr>
              </a:gs>
            </a:gsLst>
            <a:lin ang="8400000"/>
          </a:gra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1000"/>
              </a:spcAft>
              <a:defRPr/>
            </a:pPr>
            <a:endParaRPr lang="en-US" alt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2" descr="Image result for министерство труда казахстана logo">
            <a:extLst>
              <a:ext uri="{FF2B5EF4-FFF2-40B4-BE49-F238E27FC236}">
                <a16:creationId xmlns:a16="http://schemas.microsoft.com/office/drawing/2014/main" id="{220CC563-416A-40B5-A4CB-48200A7B3C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701800"/>
            <a:ext cx="901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4">
            <a:extLst>
              <a:ext uri="{FF2B5EF4-FFF2-40B4-BE49-F238E27FC236}">
                <a16:creationId xmlns:a16="http://schemas.microsoft.com/office/drawing/2014/main" id="{F4B90F2B-C6F5-49B4-A177-CA2B6480DC2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Министерство труда и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социальной защиты населения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Республики Казахстан</a:t>
            </a:r>
            <a:endParaRPr lang="en-US" altLang="en-US" sz="1400" b="1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Logo Placeholder"/>
          <p:cNvSpPr>
            <a:spLocks noGrp="1"/>
          </p:cNvSpPr>
          <p:nvPr>
            <p:ph type="pic" sz="quarter" idx="13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273824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56FAD390-9E5F-4DE7-BB29-E18E280DF5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5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43362" name="Object 1" hidden="1">
                        <a:extLst>
                          <a:ext uri="{FF2B5EF4-FFF2-40B4-BE49-F238E27FC236}">
                            <a16:creationId xmlns:a16="http://schemas.microsoft.com/office/drawing/2014/main" id="{3836B805-475A-496D-9A40-436814C0830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3135F3B1-2F1D-4900-8484-DD67287D4B7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2306624-110A-472B-A912-0468EFEB86E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D25525E6-6D29-4AE1-80EE-45692517937D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BD6538F7-C5C9-4207-9C29-43ABD30DC6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DE0DA6E-2384-44BE-8A14-1C3E5066A231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408261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6A85B88A-7495-4A2B-8673-997A1852D2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7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44386" name="Object 1" hidden="1">
                        <a:extLst>
                          <a:ext uri="{FF2B5EF4-FFF2-40B4-BE49-F238E27FC236}">
                            <a16:creationId xmlns:a16="http://schemas.microsoft.com/office/drawing/2014/main" id="{1850A520-B236-4315-9719-DB377D0A10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A502641B-3158-4D40-9D47-89C8D15795B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91914B2-13CC-42AA-8B10-D97286C11868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PanelGray">
            <a:extLst>
              <a:ext uri="{FF2B5EF4-FFF2-40B4-BE49-F238E27FC236}">
                <a16:creationId xmlns:a16="http://schemas.microsoft.com/office/drawing/2014/main" id="{33A494FA-837C-4DF2-92B7-B7E92BD8F329}"/>
              </a:ext>
            </a:extLst>
          </p:cNvPr>
          <p:cNvSpPr/>
          <p:nvPr userDrawn="1"/>
        </p:nvSpPr>
        <p:spPr bwMode="ltGray">
          <a:xfrm>
            <a:off x="0" y="0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59825AB5-8C19-4CF8-BC3E-1A09CC6A545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 bwMode="ltGray">
          <a:xfrm>
            <a:off x="775384" y="1544274"/>
            <a:ext cx="3359506" cy="1495794"/>
          </a:xfrm>
          <a:noFill/>
        </p:spPr>
        <p:txBody>
          <a:bodyPr rIns="320040" anchor="b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6D5ADC15-2287-4738-AD6F-07E4C0BD44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CA79766-9075-4FD9-841F-6DF6562CEC0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5730796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2BB3BEBF-387D-4B05-B0C7-4908358E93A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6D4BB4D-2326-44DE-BD2C-C62C97BC93E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Square">
            <a:extLst>
              <a:ext uri="{FF2B5EF4-FFF2-40B4-BE49-F238E27FC236}">
                <a16:creationId xmlns:a16="http://schemas.microsoft.com/office/drawing/2014/main" id="{4E20E116-D230-4318-9C72-C60FE1AEE316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090613" y="1457325"/>
            <a:ext cx="1128712" cy="9191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57363B38-D8AC-467D-9491-F50804AD4D2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28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D3064F78-2E3A-4B86-8AC7-CF3681E7F9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AEDC704-E104-46C7-934B-C628801986DC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176819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37B0C5D9-603D-4B15-BA00-23A6E1DFB46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AC942E8-9EAE-484B-B873-BF8D9EB7009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4" name="Line">
            <a:extLst>
              <a:ext uri="{FF2B5EF4-FFF2-40B4-BE49-F238E27FC236}">
                <a16:creationId xmlns:a16="http://schemas.microsoft.com/office/drawing/2014/main" id="{98F77C19-B900-48E6-87B1-585E1752842A}"/>
              </a:ext>
            </a:extLst>
          </p:cNvPr>
          <p:cNvCxnSpPr/>
          <p:nvPr userDrawn="1"/>
        </p:nvCxnSpPr>
        <p:spPr bwMode="white">
          <a:xfrm>
            <a:off x="774700" y="3679825"/>
            <a:ext cx="11417300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AB8FF8F5-4809-49A4-9AFF-9A1AD40C1D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F4E1105-802D-4409-A6E3-39E2CC70CA64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85879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5ECEB2D4-FC0C-4919-8A76-E450B4C460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BEA76BD5-D51B-43DF-AC98-B757B5A0CD7A}"/>
              </a:ext>
            </a:extLst>
          </p:cNvPr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3CDBB1E5-977F-42E8-8CE3-AC4AEB39DC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62CA4C8-A1C6-407A-99D4-5973B6AC4FAF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E6E120B1-25BB-400A-9F0C-AFCEE5F67FD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7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5077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3FE1F746-17BC-473B-926E-A0E27A0322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0C3A092-6CCD-4C51-BF33-C11E772CDF77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77861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A69D13C6-926E-4C07-897B-9EC5BB93F83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DFC3753-A8A6-47E3-9A05-15CFA38D9B2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Square">
            <a:extLst>
              <a:ext uri="{FF2B5EF4-FFF2-40B4-BE49-F238E27FC236}">
                <a16:creationId xmlns:a16="http://schemas.microsoft.com/office/drawing/2014/main" id="{43F5C8D3-C08E-4F7B-806B-4218B5F99973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090613" y="1457325"/>
            <a:ext cx="1128712" cy="9191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F8AE045F-7A88-4458-B99E-67AE3E0C98B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28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D2387D23-8775-4244-BA3E-AB2C291950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AA8AD92-703C-407D-97A8-285740E97CC3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961893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86B9BD82-24B7-41BA-BD8F-E1B439AA77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278457F0-5383-4002-8660-BE1C5A69D0E7}"/>
              </a:ext>
            </a:extLst>
          </p:cNvPr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B439AB36-E6F7-4C37-9863-3CDD1900BDC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162239D-5AB5-4C45-9685-44B116724AE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D2050454-D77A-42B0-8D58-0E7B647DEB3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DFF431A-4C08-4963-82A9-BF99B19B61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8A79EEF-D258-406C-9EE4-A4254995758D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066602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C7719C69-D9F4-45C1-A0F0-FCCC942BEAF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10F8A82A-2622-4DFF-A4AD-76C39B6ABEF0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82DA8E35-5B11-4BED-A791-175D5864079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BD1BE1F-0975-47E5-A7F2-341FEFA404A8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B691B62A-0B4F-4B88-8ED4-8B8F5681B46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77B4409E-DBA0-4300-8AC4-7FB5CF7FDB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E185E07-FD42-4ED3-9B89-259432838A67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571037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:a16="http://schemas.microsoft.com/office/drawing/2014/main" id="{B1D0D1EF-3151-44C3-B683-5B113D90EA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Gray">
            <a:extLst>
              <a:ext uri="{FF2B5EF4-FFF2-40B4-BE49-F238E27FC236}">
                <a16:creationId xmlns:a16="http://schemas.microsoft.com/office/drawing/2014/main" id="{662E54EA-B6E6-4FE4-BE23-053837D986C5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9">
            <a:extLst>
              <a:ext uri="{FF2B5EF4-FFF2-40B4-BE49-F238E27FC236}">
                <a16:creationId xmlns:a16="http://schemas.microsoft.com/office/drawing/2014/main" id="{5E43F1F6-8424-4BA1-8C36-7E20F477B5C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7515D10-2FE9-48AC-96EE-7D65619EAFE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88AB5A46-9F0E-4562-A7F4-D953406D96E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">
          <a:xfrm>
            <a:off x="775384" y="1785600"/>
            <a:ext cx="4269724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5489809F-E8D9-4677-AB5D-CC08B569A8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2EE14E8-28EF-466A-AFC6-395CB9431D49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373309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:a16="http://schemas.microsoft.com/office/drawing/2014/main" id="{C6252BFE-503A-436F-B9B9-BDB229BDB1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Gray">
            <a:extLst>
              <a:ext uri="{FF2B5EF4-FFF2-40B4-BE49-F238E27FC236}">
                <a16:creationId xmlns:a16="http://schemas.microsoft.com/office/drawing/2014/main" id="{592D2EE7-B137-41DF-AD1F-B5AC3A5A9FB0}"/>
              </a:ext>
            </a:extLst>
          </p:cNvPr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:a16="http://schemas.microsoft.com/office/drawing/2014/main" id="{614440C1-B715-4B95-8B15-6E0806FF344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8F4666E-7C91-4F9A-ADBD-E764EDEE2DC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B4FB4AFC-180A-455F-AEF8-A5A387DF1E6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608985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87387473-3DFF-47BA-81FB-0DA0CAC81FD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28A7551-2FFE-44A3-BAAE-2C1FD61E1FE9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514237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263E9626-600E-484D-946B-2A0D8477DB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:a16="http://schemas.microsoft.com/office/drawing/2014/main" id="{E9FBC97C-08B3-436D-97DD-1C06D5D8B8CC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5A3B41B5-002E-4CBA-82C2-915521CEE4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764231C-00A5-436C-B0C7-38F8E1728A9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66B24B49-19E3-41BE-8D81-180A2309BF07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/>
          </p:nvPr>
        </p:nvSpPr>
        <p:spPr>
          <a:xfrm>
            <a:off x="775386" y="2680200"/>
            <a:ext cx="2442215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FFC4A926-EA9A-43B4-98A4-23B5BF7D8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18E5BAF-C8F3-444B-A21F-4D094F771BA1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4937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:a16="http://schemas.microsoft.com/office/drawing/2014/main" id="{032A516C-B7E6-426E-AFA5-39B3B8110B32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95406BD6-BFA6-4A81-8A87-688F6F8C09B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3A3F95D-22F5-4D04-B56B-CA38721CC71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55DB45C0-0A24-4820-8F62-AF915560E0CF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F03FDFEB-6DDB-4E62-82C4-BF79CAC6A2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75386" y="2680199"/>
            <a:ext cx="2442215" cy="1497600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C2DFF4C7-D6E6-4037-B63F-F14691E85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6B8C7A7-83E8-4F96-B32E-36ECD245CD32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288013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F3E466E6-6DBD-4BCD-AC82-1748C2FAC8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613" y="3395663"/>
            <a:ext cx="15970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:a16="http://schemas.microsoft.com/office/drawing/2014/main" id="{8FA5A4E3-1327-4B13-AF0D-445B965B6D4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4F85CE0F-4862-4FEA-8F64-23DD0AFE666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537283C-6154-4AC4-9932-76FC4170257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AC977413-EE21-4CFA-973F-56838174D95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D32C9E37-1D9A-4F3F-A242-B7E1047D76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6E5F4AD-D6F2-404A-8456-3737A254AC67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696875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:a16="http://schemas.microsoft.com/office/drawing/2014/main" id="{5056DE5A-22DE-46DA-BDE6-CE65D8F80EA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CD860A8A-3047-4FDA-881B-1BF163B676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0398A76-7FAC-4CB7-8622-C15F412429F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95901484-3352-48E2-8A5C-F7C6952A4E0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F5401C8D-7F9E-43E7-B9EC-56BDCBE64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38D1FEBD-BB96-4C72-BD6D-BC97E76B1E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6728B5E-BA55-405A-9E01-BF107A5BEDF7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161728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13479A73-7C1C-4FEA-9582-61452D6106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350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:a16="http://schemas.microsoft.com/office/drawing/2014/main" id="{47A22D5A-DB1D-4162-8C95-0139D71A1A6F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0A41E421-DEBC-41E4-8893-A4D64CF6ACC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410BB8F-902E-4A61-8A81-2033C49EAEFF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D88EE31B-53AB-47DE-9DCF-1CD1EA9BCC0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8245CC15-6674-4D27-88CA-7063ED51D3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006DCD7-6D8A-4822-A9F7-4FDA4EF74635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889791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:a16="http://schemas.microsoft.com/office/drawing/2014/main" id="{79E6EC3A-E74D-4BC9-B5F0-BB9DD51B5DC6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12A94FA0-A125-4F17-8D4D-C18D5E82F13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A556463-8867-4946-96F8-83E9A3CA4FCB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316AE863-9740-4DF5-AD59-739DC912A1F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8">
            <a:extLst>
              <a:ext uri="{FF2B5EF4-FFF2-40B4-BE49-F238E27FC236}">
                <a16:creationId xmlns:a16="http://schemas.microsoft.com/office/drawing/2014/main" id="{B6D1F4AD-73B3-47E2-B383-7D1831E73E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0439D4D-D911-4E11-8FAF-A8D12F3195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6C87179-66EB-4933-8347-327B2CCA10CE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59632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A6DBE5EC-5366-4AF3-8274-88185A133E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1C2DA5F-9B79-490E-8592-B5681DB81218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4" name="Line">
            <a:extLst>
              <a:ext uri="{FF2B5EF4-FFF2-40B4-BE49-F238E27FC236}">
                <a16:creationId xmlns:a16="http://schemas.microsoft.com/office/drawing/2014/main" id="{AF125F23-E85A-4F1A-94FE-C78B33CA0CCE}"/>
              </a:ext>
            </a:extLst>
          </p:cNvPr>
          <p:cNvCxnSpPr/>
          <p:nvPr userDrawn="1"/>
        </p:nvCxnSpPr>
        <p:spPr bwMode="white">
          <a:xfrm>
            <a:off x="774700" y="3679825"/>
            <a:ext cx="11417300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086FC08B-3BE1-4665-8890-9BF4B3E348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E7F6BC4A-9C84-41A5-AA77-316ED1465CFE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171373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B87DF91F-FC1F-4E2A-A2E1-8CCE7C64D57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138" y="3594100"/>
            <a:ext cx="1679575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:a16="http://schemas.microsoft.com/office/drawing/2014/main" id="{0D4ADA36-EDAA-4B48-98C3-BC91EEE9A01F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82F404F9-E1EC-4A04-9CDF-7F45EAC74A0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A1376DA-35FC-4366-BE25-0FD5DEE73113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A6655065-1718-4D38-9AF4-545E8CDEA78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DC23201A-EB9B-4211-8AD4-D060E82A36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3976174-492A-4581-BAC5-8E636FF6A763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4642998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:a16="http://schemas.microsoft.com/office/drawing/2014/main" id="{0D185456-4669-464A-86F6-7539DA5833C9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299F6562-697E-4940-80AE-BD373BB12FA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3CAD137-90D1-466C-8B4E-943714FF89D1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DAEA515C-0E5B-4303-A6A6-CB6E002B663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9">
            <a:extLst>
              <a:ext uri="{FF2B5EF4-FFF2-40B4-BE49-F238E27FC236}">
                <a16:creationId xmlns:a16="http://schemas.microsoft.com/office/drawing/2014/main" id="{B428ACE1-E2A2-483A-851C-502B5065F9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10437AB4-6794-4ABA-86C0-453BFC04CB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59CA8EC-6135-4F9E-BDDE-8E5F959F1896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182286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E909EE2C-85BB-494B-BA58-9A92AD04B7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F49734C-2B53-487B-A769-05A5F5FF138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B370D657-EABD-4BC2-ABD1-1B7C83999D56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A87A5E6D-AFCF-4D3E-828D-FFC9313372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EB114A3-5E69-44A1-ABA6-C5863D4715E5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414052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DC2B8ACA-427F-4845-853F-F71040075D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0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61794" name="Object 1" hidden="1">
                        <a:extLst>
                          <a:ext uri="{FF2B5EF4-FFF2-40B4-BE49-F238E27FC236}">
                            <a16:creationId xmlns:a16="http://schemas.microsoft.com/office/drawing/2014/main" id="{8F739543-168F-4825-9B45-EF6E01F39B8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C428E706-D2CA-4B51-905D-F3574F05DD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5FD6063-984D-4169-9CED-B6DCA9FF547A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:a16="http://schemas.microsoft.com/office/drawing/2014/main" id="{1845DE55-7128-48DD-9743-A348748EBA0F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774700" y="625475"/>
            <a:ext cx="1130300" cy="917575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36975379-D05D-4F64-B5AF-6207914F925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C61C9556-F13B-466A-84A0-0EB661E58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97621CB-BEE2-4D17-B322-59D6958296D1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886455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:a16="http://schemas.microsoft.com/office/drawing/2014/main" id="{8F9FD069-883B-4367-A189-44A17892A1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Bubble">
            <a:extLst>
              <a:ext uri="{FF2B5EF4-FFF2-40B4-BE49-F238E27FC236}">
                <a16:creationId xmlns:a16="http://schemas.microsoft.com/office/drawing/2014/main" id="{1ABB2944-E41A-47C7-98FD-DDBCD90530E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15C72F3-3024-40D3-9A08-531C527E2E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" name="Right Triangle 55">
              <a:extLst>
                <a:ext uri="{FF2B5EF4-FFF2-40B4-BE49-F238E27FC236}">
                  <a16:creationId xmlns:a16="http://schemas.microsoft.com/office/drawing/2014/main" id="{C9050678-65E8-47D4-8DB8-43423C78611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6" name="Page">
            <a:extLst>
              <a:ext uri="{FF2B5EF4-FFF2-40B4-BE49-F238E27FC236}">
                <a16:creationId xmlns:a16="http://schemas.microsoft.com/office/drawing/2014/main" id="{00DE37F0-A85E-41E9-B7E4-0389C08918A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E4AC49E-2822-451A-8C20-31D60B39A36C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8585873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6D3F2CDB-3A3B-454E-AE5A-EF573DAD99BC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80DE11A-F677-4BA6-A781-40A31D3DEA3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8AD324E0-5B95-4464-A798-792EC3F703F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5FF4FF53-85D9-499F-AF83-A207D062D2DF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7A037C2-3812-47AE-B181-E3B154277EE8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711674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E94A075-91FD-4336-91C4-182531658B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2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64866" name="Object 1" hidden="1">
                        <a:extLst>
                          <a:ext uri="{FF2B5EF4-FFF2-40B4-BE49-F238E27FC236}">
                            <a16:creationId xmlns:a16="http://schemas.microsoft.com/office/drawing/2014/main" id="{BD335BDD-426E-4A19-8367-97886E69EB6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1AA552B5-9B8E-4FDA-911D-DA7D258E297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9F8BCFD-CC38-4248-B86F-16DB77624A06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3E3CB3FD-1C52-46DB-B88B-FEB39B4EF76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BA89EC-B02E-489C-AD0F-B89E3BFF69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F4D21D8-10A5-4B62-B913-0656112834CA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051586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>
            <a:extLst>
              <a:ext uri="{FF2B5EF4-FFF2-40B4-BE49-F238E27FC236}">
                <a16:creationId xmlns:a16="http://schemas.microsoft.com/office/drawing/2014/main" id="{4265E976-D76D-4C49-9CC6-EFC139FE8A7E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8C29A16-5446-4899-AE38-8586F75C6B5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FooterSimple" hidden="1">
            <a:extLst>
              <a:ext uri="{FF2B5EF4-FFF2-40B4-BE49-F238E27FC236}">
                <a16:creationId xmlns:a16="http://schemas.microsoft.com/office/drawing/2014/main" id="{5CFC6D9F-E33D-4A04-81B4-334922EA94F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459CE0EC-60D1-4717-A254-AA5CF5EC25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91856D0-A0EF-4DBC-A584-80E6BA16187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198932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CD4DBD8-6070-46C4-9ED9-6E0B0D23BA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4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66914" name="Object 1" hidden="1">
                        <a:extLst>
                          <a:ext uri="{FF2B5EF4-FFF2-40B4-BE49-F238E27FC236}">
                            <a16:creationId xmlns:a16="http://schemas.microsoft.com/office/drawing/2014/main" id="{00315805-95F3-4001-ADA9-3BA23EBAD3A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2AF9B8AA-79E3-4179-8CAC-0CBCE49B0B5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A1ADDA4-25D8-405F-A487-61AAB20AFA1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5B445BDD-2A14-4C22-8971-5A56AE27E33A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</p:spTree>
    <p:extLst>
      <p:ext uri="{BB962C8B-B14F-4D97-AF65-F5344CB8AC3E}">
        <p14:creationId xmlns:p14="http://schemas.microsoft.com/office/powerpoint/2010/main" val="2054282480"/>
      </p:ext>
    </p:extLst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971742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74E69162-8375-44B3-9D0A-B7A92528A3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C532CA2F-13FE-4891-BF16-DE3D1D1AFFD0}"/>
              </a:ext>
            </a:extLst>
          </p:cNvPr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A70B2F11-E7FD-4640-8918-3CADD8F3BF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04D5FBB-C813-4A74-AE4B-0E4D3E4E7B6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1AE6560E-AEFC-4C3B-BB2E-E89BCF67D96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7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5077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86A06D71-78A7-4C3E-A51C-FAF7EB3756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BC720EB-96A2-4C9B-9D87-FECAF6B76C0B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165004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yout gu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F54D516-940E-4205-AAB9-E71D48DEBC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68962" name="Object 1" hidden="1">
                        <a:extLst>
                          <a:ext uri="{FF2B5EF4-FFF2-40B4-BE49-F238E27FC236}">
                            <a16:creationId xmlns:a16="http://schemas.microsoft.com/office/drawing/2014/main" id="{B983AB24-9503-4645-AA96-BA76AA29507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E1CE3837-8B2B-4F21-96A3-F6A1E5B448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A885746-8255-4B2E-868A-8615E36497C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7A0277A1-A90A-4975-B57C-D4627EA41A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16200000">
            <a:off x="9452769" y="3921919"/>
            <a:ext cx="5133975" cy="968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EADE31C4-36FE-40A4-BE0C-80F04A31CEA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grpSp>
        <p:nvGrpSpPr>
          <p:cNvPr id="6" name="A4Grid">
            <a:extLst>
              <a:ext uri="{FF2B5EF4-FFF2-40B4-BE49-F238E27FC236}">
                <a16:creationId xmlns:a16="http://schemas.microsoft.com/office/drawing/2014/main" id="{1032E31C-BCA0-4590-B0B6-F70DAE4E770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096B043C-617E-4F02-8CCD-42908370C4C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8" name="No-fly zone">
              <a:extLst>
                <a:ext uri="{FF2B5EF4-FFF2-40B4-BE49-F238E27FC236}">
                  <a16:creationId xmlns:a16="http://schemas.microsoft.com/office/drawing/2014/main" id="{2BF82564-8C5B-419D-8155-C4299822C3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29400 w 9906000"/>
                <a:gd name="T1" fmla="*/ 622800 h 6858000"/>
                <a:gd name="T2" fmla="*/ 629400 w 9906000"/>
                <a:gd name="T3" fmla="*/ 6156000 h 6858000"/>
                <a:gd name="T4" fmla="*/ 9276600 w 9906000"/>
                <a:gd name="T5" fmla="*/ 6156000 h 6858000"/>
                <a:gd name="T6" fmla="*/ 9276600 w 9906000"/>
                <a:gd name="T7" fmla="*/ 622800 h 6858000"/>
                <a:gd name="T8" fmla="*/ 0 w 9906000"/>
                <a:gd name="T9" fmla="*/ 0 h 6858000"/>
                <a:gd name="T10" fmla="*/ 629400 w 9906000"/>
                <a:gd name="T11" fmla="*/ 0 h 6858000"/>
                <a:gd name="T12" fmla="*/ 629400 w 9906000"/>
                <a:gd name="T13" fmla="*/ 0 h 6858000"/>
                <a:gd name="T14" fmla="*/ 9276600 w 9906000"/>
                <a:gd name="T15" fmla="*/ 0 h 6858000"/>
                <a:gd name="T16" fmla="*/ 9906000 w 9906000"/>
                <a:gd name="T17" fmla="*/ 0 h 6858000"/>
                <a:gd name="T18" fmla="*/ 9906000 w 9906000"/>
                <a:gd name="T19" fmla="*/ 622800 h 6858000"/>
                <a:gd name="T20" fmla="*/ 9906000 w 9906000"/>
                <a:gd name="T21" fmla="*/ 6156000 h 6858000"/>
                <a:gd name="T22" fmla="*/ 9906000 w 9906000"/>
                <a:gd name="T23" fmla="*/ 6858000 h 6858000"/>
                <a:gd name="T24" fmla="*/ 9276600 w 9906000"/>
                <a:gd name="T25" fmla="*/ 6858000 h 6858000"/>
                <a:gd name="T26" fmla="*/ 629400 w 9906000"/>
                <a:gd name="T27" fmla="*/ 6858000 h 6858000"/>
                <a:gd name="T28" fmla="*/ 0 w 9906000"/>
                <a:gd name="T29" fmla="*/ 6858000 h 6858000"/>
                <a:gd name="T30" fmla="*/ 0 w 9906000"/>
                <a:gd name="T31" fmla="*/ 6858000 h 6858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lnTo>
                    <a:pt x="6294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8821ED9B-7BD9-485D-80D8-0A050E99D0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:a16="http://schemas.microsoft.com/office/drawing/2014/main" id="{D685E1CC-9655-4720-AB81-DF0B9F02A9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545454"/>
                </a:solidFill>
                <a:latin typeface="Trebuchet MS"/>
              </a:endParaRPr>
            </a:p>
          </p:txBody>
        </p:sp>
        <p:grpSp>
          <p:nvGrpSpPr>
            <p:cNvPr id="11" name="Gutter space">
              <a:extLst>
                <a:ext uri="{FF2B5EF4-FFF2-40B4-BE49-F238E27FC236}">
                  <a16:creationId xmlns:a16="http://schemas.microsoft.com/office/drawing/2014/main" id="{0BDE3EF7-EEBB-470B-9CDE-C9127A1A4774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41" name="Gutter 11">
                <a:extLst>
                  <a:ext uri="{FF2B5EF4-FFF2-40B4-BE49-F238E27FC236}">
                    <a16:creationId xmlns:a16="http://schemas.microsoft.com/office/drawing/2014/main" id="{97CAC340-F6C0-4CE5-9E00-07FFDD1A68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2" name="Gutter 10">
                <a:extLst>
                  <a:ext uri="{FF2B5EF4-FFF2-40B4-BE49-F238E27FC236}">
                    <a16:creationId xmlns:a16="http://schemas.microsoft.com/office/drawing/2014/main" id="{D93AF497-461A-4DA4-8728-5134C15A52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3" name="Gutter 9">
                <a:extLst>
                  <a:ext uri="{FF2B5EF4-FFF2-40B4-BE49-F238E27FC236}">
                    <a16:creationId xmlns:a16="http://schemas.microsoft.com/office/drawing/2014/main" id="{B70097A4-366F-4AC5-902C-9AE6D269C9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4" name="Gutter 8">
                <a:extLst>
                  <a:ext uri="{FF2B5EF4-FFF2-40B4-BE49-F238E27FC236}">
                    <a16:creationId xmlns:a16="http://schemas.microsoft.com/office/drawing/2014/main" id="{BE5DB954-B656-4EF2-8FB0-0CD011CAFE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5" name="Gutter 7">
                <a:extLst>
                  <a:ext uri="{FF2B5EF4-FFF2-40B4-BE49-F238E27FC236}">
                    <a16:creationId xmlns:a16="http://schemas.microsoft.com/office/drawing/2014/main" id="{7FA8394C-2E3C-44FD-A961-12931D25AC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6" name="Gutter 6">
                <a:extLst>
                  <a:ext uri="{FF2B5EF4-FFF2-40B4-BE49-F238E27FC236}">
                    <a16:creationId xmlns:a16="http://schemas.microsoft.com/office/drawing/2014/main" id="{599D4083-C00E-4D46-B6DA-4CC5A940F8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7" name="Gutter 5">
                <a:extLst>
                  <a:ext uri="{FF2B5EF4-FFF2-40B4-BE49-F238E27FC236}">
                    <a16:creationId xmlns:a16="http://schemas.microsoft.com/office/drawing/2014/main" id="{1513C94C-268B-4082-9B89-A858F60B88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8" name="Gutter 4">
                <a:extLst>
                  <a:ext uri="{FF2B5EF4-FFF2-40B4-BE49-F238E27FC236}">
                    <a16:creationId xmlns:a16="http://schemas.microsoft.com/office/drawing/2014/main" id="{FBFEBAB8-F949-4DCE-B483-AF4C5DA830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9" name="Gutter 3">
                <a:extLst>
                  <a:ext uri="{FF2B5EF4-FFF2-40B4-BE49-F238E27FC236}">
                    <a16:creationId xmlns:a16="http://schemas.microsoft.com/office/drawing/2014/main" id="{D41F4D3B-D78F-44C9-9271-031F5B7537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50" name="Gutter 2">
                <a:extLst>
                  <a:ext uri="{FF2B5EF4-FFF2-40B4-BE49-F238E27FC236}">
                    <a16:creationId xmlns:a16="http://schemas.microsoft.com/office/drawing/2014/main" id="{52C11C61-A68D-43DE-8F36-2A67F7A35F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51" name="Gutter 1">
                <a:extLst>
                  <a:ext uri="{FF2B5EF4-FFF2-40B4-BE49-F238E27FC236}">
                    <a16:creationId xmlns:a16="http://schemas.microsoft.com/office/drawing/2014/main" id="{9223F18D-552A-405B-BD2D-0FB9756E15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grpSp>
          <p:nvGrpSpPr>
            <p:cNvPr id="12" name="Baselines/Anchors">
              <a:extLst>
                <a:ext uri="{FF2B5EF4-FFF2-40B4-BE49-F238E27FC236}">
                  <a16:creationId xmlns:a16="http://schemas.microsoft.com/office/drawing/2014/main" id="{6360D614-E59B-4A76-8DA8-E1756D1EFFDB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21" name="Line 20">
                <a:extLst>
                  <a:ext uri="{FF2B5EF4-FFF2-40B4-BE49-F238E27FC236}">
                    <a16:creationId xmlns:a16="http://schemas.microsoft.com/office/drawing/2014/main" id="{AF460857-E221-4DA0-B2D4-64566EE2CB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Line 19">
                <a:extLst>
                  <a:ext uri="{FF2B5EF4-FFF2-40B4-BE49-F238E27FC236}">
                    <a16:creationId xmlns:a16="http://schemas.microsoft.com/office/drawing/2014/main" id="{F2DC8B58-F2B3-44F5-BB2A-8D353DF106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" name="Line 18">
                <a:extLst>
                  <a:ext uri="{FF2B5EF4-FFF2-40B4-BE49-F238E27FC236}">
                    <a16:creationId xmlns:a16="http://schemas.microsoft.com/office/drawing/2014/main" id="{6531DC28-0A43-4A23-A292-A01C142B08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Line 17">
                <a:extLst>
                  <a:ext uri="{FF2B5EF4-FFF2-40B4-BE49-F238E27FC236}">
                    <a16:creationId xmlns:a16="http://schemas.microsoft.com/office/drawing/2014/main" id="{D6A2F548-1F53-4007-A418-FBA08037EF7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5" name="Line 16">
                <a:extLst>
                  <a:ext uri="{FF2B5EF4-FFF2-40B4-BE49-F238E27FC236}">
                    <a16:creationId xmlns:a16="http://schemas.microsoft.com/office/drawing/2014/main" id="{C76DC1A0-BB7C-47D5-9B1C-52744EA2FC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Line 15">
                <a:extLst>
                  <a:ext uri="{FF2B5EF4-FFF2-40B4-BE49-F238E27FC236}">
                    <a16:creationId xmlns:a16="http://schemas.microsoft.com/office/drawing/2014/main" id="{9E89A389-5C77-4E64-BEBB-EF964BB858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7" name="Line 14">
                <a:extLst>
                  <a:ext uri="{FF2B5EF4-FFF2-40B4-BE49-F238E27FC236}">
                    <a16:creationId xmlns:a16="http://schemas.microsoft.com/office/drawing/2014/main" id="{1AB16DF6-9233-4892-97C9-AA1392817C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8" name="Line 13">
                <a:extLst>
                  <a:ext uri="{FF2B5EF4-FFF2-40B4-BE49-F238E27FC236}">
                    <a16:creationId xmlns:a16="http://schemas.microsoft.com/office/drawing/2014/main" id="{18717A7A-F579-4160-90DD-E94CDDA769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9" name="Line 12">
                <a:extLst>
                  <a:ext uri="{FF2B5EF4-FFF2-40B4-BE49-F238E27FC236}">
                    <a16:creationId xmlns:a16="http://schemas.microsoft.com/office/drawing/2014/main" id="{349F3918-E9C9-46A0-BBFB-EC3FB83E5D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0" name="Line 11">
                <a:extLst>
                  <a:ext uri="{FF2B5EF4-FFF2-40B4-BE49-F238E27FC236}">
                    <a16:creationId xmlns:a16="http://schemas.microsoft.com/office/drawing/2014/main" id="{F3ACCF7A-6768-4C53-8E8D-DD11328AF10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Line 10">
                <a:extLst>
                  <a:ext uri="{FF2B5EF4-FFF2-40B4-BE49-F238E27FC236}">
                    <a16:creationId xmlns:a16="http://schemas.microsoft.com/office/drawing/2014/main" id="{E53AC46A-2859-4635-9E41-48539B034E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2" name="Line 9">
                <a:extLst>
                  <a:ext uri="{FF2B5EF4-FFF2-40B4-BE49-F238E27FC236}">
                    <a16:creationId xmlns:a16="http://schemas.microsoft.com/office/drawing/2014/main" id="{F44B0AF9-7AF3-45F8-953A-8001E759F12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" name="Line 8">
                <a:extLst>
                  <a:ext uri="{FF2B5EF4-FFF2-40B4-BE49-F238E27FC236}">
                    <a16:creationId xmlns:a16="http://schemas.microsoft.com/office/drawing/2014/main" id="{6FF49848-CC3C-4AFD-93F7-D37CD37EFD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4" name="Line 7">
                <a:extLst>
                  <a:ext uri="{FF2B5EF4-FFF2-40B4-BE49-F238E27FC236}">
                    <a16:creationId xmlns:a16="http://schemas.microsoft.com/office/drawing/2014/main" id="{500DA3B1-1BAE-4F64-A462-BEB59CF0F6B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Line 6">
                <a:extLst>
                  <a:ext uri="{FF2B5EF4-FFF2-40B4-BE49-F238E27FC236}">
                    <a16:creationId xmlns:a16="http://schemas.microsoft.com/office/drawing/2014/main" id="{9B2BF49A-2C99-499D-9C72-8473ABA998C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Line 5">
                <a:extLst>
                  <a:ext uri="{FF2B5EF4-FFF2-40B4-BE49-F238E27FC236}">
                    <a16:creationId xmlns:a16="http://schemas.microsoft.com/office/drawing/2014/main" id="{0ADEBC9D-976D-47E6-BC97-A0BAF9E386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7" name="Line 4">
                <a:extLst>
                  <a:ext uri="{FF2B5EF4-FFF2-40B4-BE49-F238E27FC236}">
                    <a16:creationId xmlns:a16="http://schemas.microsoft.com/office/drawing/2014/main" id="{0278B9E9-333C-4911-BF7C-E4663B39808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Line 3">
                <a:extLst>
                  <a:ext uri="{FF2B5EF4-FFF2-40B4-BE49-F238E27FC236}">
                    <a16:creationId xmlns:a16="http://schemas.microsoft.com/office/drawing/2014/main" id="{C09BDB33-D7AA-4B97-89C0-A935B78C4F3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" name="Line 2">
                <a:extLst>
                  <a:ext uri="{FF2B5EF4-FFF2-40B4-BE49-F238E27FC236}">
                    <a16:creationId xmlns:a16="http://schemas.microsoft.com/office/drawing/2014/main" id="{25968760-C6F9-43B6-9B9E-1550657ADE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" name="Line 1">
                <a:extLst>
                  <a:ext uri="{FF2B5EF4-FFF2-40B4-BE49-F238E27FC236}">
                    <a16:creationId xmlns:a16="http://schemas.microsoft.com/office/drawing/2014/main" id="{23A03C9E-544F-4F91-B0A4-F3C466CA78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3" name="Five column measure">
              <a:extLst>
                <a:ext uri="{FF2B5EF4-FFF2-40B4-BE49-F238E27FC236}">
                  <a16:creationId xmlns:a16="http://schemas.microsoft.com/office/drawing/2014/main" id="{16C79252-6FCA-4DBD-BC54-5A6869942179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6" name="Column 5">
                <a:extLst>
                  <a:ext uri="{FF2B5EF4-FFF2-40B4-BE49-F238E27FC236}">
                    <a16:creationId xmlns:a16="http://schemas.microsoft.com/office/drawing/2014/main" id="{0E0F8C07-6A62-43A2-96DD-C047509CB7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7" name="Column 4">
                <a:extLst>
                  <a:ext uri="{FF2B5EF4-FFF2-40B4-BE49-F238E27FC236}">
                    <a16:creationId xmlns:a16="http://schemas.microsoft.com/office/drawing/2014/main" id="{4FD0B67C-5EAE-4AD0-978C-024477C7D1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8" name="Column 3">
                <a:extLst>
                  <a:ext uri="{FF2B5EF4-FFF2-40B4-BE49-F238E27FC236}">
                    <a16:creationId xmlns:a16="http://schemas.microsoft.com/office/drawing/2014/main" id="{3E7AAB00-30AD-4C58-865F-FCA44DBE06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9" name="Column 2">
                <a:extLst>
                  <a:ext uri="{FF2B5EF4-FFF2-40B4-BE49-F238E27FC236}">
                    <a16:creationId xmlns:a16="http://schemas.microsoft.com/office/drawing/2014/main" id="{614D042E-793A-4F5C-8B6C-73784B46CA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20" name="Column 1">
                <a:extLst>
                  <a:ext uri="{FF2B5EF4-FFF2-40B4-BE49-F238E27FC236}">
                    <a16:creationId xmlns:a16="http://schemas.microsoft.com/office/drawing/2014/main" id="{7CE4FF8A-1E7B-4C02-A6CE-9C1EA2456C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sp>
          <p:nvSpPr>
            <p:cNvPr id="14" name="Live space">
              <a:extLst>
                <a:ext uri="{FF2B5EF4-FFF2-40B4-BE49-F238E27FC236}">
                  <a16:creationId xmlns:a16="http://schemas.microsoft.com/office/drawing/2014/main" id="{EBCEAF58-B61D-45E6-8EB5-183CEB11FDE9}"/>
                </a:ext>
              </a:extLst>
            </p:cNvPr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rgbClr val="545454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AC031EB0-4ACB-4E0A-A67E-E8FF9BCDAD49}"/>
                </a:ext>
              </a:extLst>
            </p:cNvPr>
            <p:cNvSpPr txBox="1">
              <a:spLocks noChangeAspect="1"/>
            </p:cNvSpPr>
            <p:nvPr userDrawn="1"/>
          </p:nvSpPr>
          <p:spPr bwMode="auto">
            <a:xfrm>
              <a:off x="629444" y="6099175"/>
              <a:ext cx="7283748" cy="4619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lang="en-US" altLang="en-US" sz="1000">
                <a:solidFill>
                  <a:srgbClr val="A6A6A6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2" name="Date Placeholder 1">
            <a:extLst>
              <a:ext uri="{FF2B5EF4-FFF2-40B4-BE49-F238E27FC236}">
                <a16:creationId xmlns:a16="http://schemas.microsoft.com/office/drawing/2014/main" id="{970B7A4E-33E5-4C6A-8D29-3A5C370E4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45B3553-6CAE-441B-A62C-2ED29F779784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834633"/>
      </p:ext>
    </p:extLst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nelWhite">
            <a:extLst>
              <a:ext uri="{FF2B5EF4-FFF2-40B4-BE49-F238E27FC236}">
                <a16:creationId xmlns:a16="http://schemas.microsoft.com/office/drawing/2014/main" id="{7E6CA40B-60C3-477F-B1CD-9DB3A3C849DD}"/>
              </a:ext>
            </a:extLst>
          </p:cNvPr>
          <p:cNvSpPr/>
          <p:nvPr userDrawn="1"/>
        </p:nvSpPr>
        <p:spPr>
          <a:xfrm>
            <a:off x="0" y="5278438"/>
            <a:ext cx="12192000" cy="157956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Shadow">
            <a:extLst>
              <a:ext uri="{FF2B5EF4-FFF2-40B4-BE49-F238E27FC236}">
                <a16:creationId xmlns:a16="http://schemas.microsoft.com/office/drawing/2014/main" id="{FE65819C-C0A4-4CD6-B546-566FAEB2FB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" t="102" r="8742" b="1730"/>
          <a:stretch>
            <a:fillRect/>
          </a:stretch>
        </p:blipFill>
        <p:spPr bwMode="auto">
          <a:xfrm>
            <a:off x="3751263" y="5094288"/>
            <a:ext cx="8440737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:a16="http://schemas.microsoft.com/office/drawing/2014/main" id="{8AC64833-DD12-496B-8096-FB2987E3D45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404" r="38" b="24950"/>
          <a:stretch>
            <a:fillRect/>
          </a:stretch>
        </p:blipFill>
        <p:spPr bwMode="auto">
          <a:xfrm>
            <a:off x="-17463" y="0"/>
            <a:ext cx="12218988" cy="52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>
            <a:extLst>
              <a:ext uri="{FF2B5EF4-FFF2-40B4-BE49-F238E27FC236}">
                <a16:creationId xmlns:a16="http://schemas.microsoft.com/office/drawing/2014/main" id="{5EC15882-8FD6-4F06-B086-90E56B198A85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71525" y="1509713"/>
            <a:ext cx="7913688" cy="4646612"/>
          </a:xfrm>
          <a:prstGeom prst="rect">
            <a:avLst/>
          </a:prstGeom>
          <a:gradFill rotWithShape="0">
            <a:gsLst>
              <a:gs pos="0">
                <a:srgbClr val="071117"/>
              </a:gs>
              <a:gs pos="100000">
                <a:srgbClr val="295E7E">
                  <a:alpha val="89999"/>
                </a:srgbClr>
              </a:gs>
            </a:gsLst>
            <a:lin ang="8400000"/>
          </a:gra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1000"/>
              </a:spcAft>
              <a:defRPr/>
            </a:pPr>
            <a:endParaRPr lang="en-US" alt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2" descr="Image result for министерство труда казахстана logo">
            <a:extLst>
              <a:ext uri="{FF2B5EF4-FFF2-40B4-BE49-F238E27FC236}">
                <a16:creationId xmlns:a16="http://schemas.microsoft.com/office/drawing/2014/main" id="{A1F9F3A2-8B73-4F86-829E-D75475056FE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701800"/>
            <a:ext cx="901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4">
            <a:extLst>
              <a:ext uri="{FF2B5EF4-FFF2-40B4-BE49-F238E27FC236}">
                <a16:creationId xmlns:a16="http://schemas.microsoft.com/office/drawing/2014/main" id="{CAF02EFE-9F68-4BB8-9966-1B0F96A510C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Министерство труда и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Социальной защиты населения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Республики Казахстан</a:t>
            </a:r>
            <a:endParaRPr lang="en-US" altLang="en-US" sz="1400" b="1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4" name="Logo Placeholder"/>
          <p:cNvSpPr>
            <a:spLocks noGrp="1"/>
          </p:cNvSpPr>
          <p:nvPr>
            <p:ph type="pic" sz="quarter" idx="13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2" name="Title 1"/>
          <p:cNvSpPr>
            <a:spLocks noGrp="1"/>
          </p:cNvSpPr>
          <p:nvPr>
            <p:ph type="ctrTitle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186753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507E556F-F9BD-4525-A182-A3C5B23CA1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9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71010" name="Object 1" hidden="1">
                        <a:extLst>
                          <a:ext uri="{FF2B5EF4-FFF2-40B4-BE49-F238E27FC236}">
                            <a16:creationId xmlns:a16="http://schemas.microsoft.com/office/drawing/2014/main" id="{30A578D9-8C4F-4757-B86B-85C1C434087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8270776A-40B1-4D7C-A2EF-B633A676152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E5A70D5-E43B-4CF6-9333-6B788A722FD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CDE59570-DA41-4BCE-A172-27EF28F9277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56">
            <a:extLst>
              <a:ext uri="{FF2B5EF4-FFF2-40B4-BE49-F238E27FC236}">
                <a16:creationId xmlns:a16="http://schemas.microsoft.com/office/drawing/2014/main" id="{3DDB6545-843A-4B57-BDE3-846224903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73FFC65-81B6-4587-9782-FD22321081AD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707560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C22CEED0-474A-4702-A546-1ECF09496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2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72034" name="Object 1" hidden="1">
                        <a:extLst>
                          <a:ext uri="{FF2B5EF4-FFF2-40B4-BE49-F238E27FC236}">
                            <a16:creationId xmlns:a16="http://schemas.microsoft.com/office/drawing/2014/main" id="{1D04644C-A1E9-463B-AA86-F4C656B5915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age">
            <a:extLst>
              <a:ext uri="{FF2B5EF4-FFF2-40B4-BE49-F238E27FC236}">
                <a16:creationId xmlns:a16="http://schemas.microsoft.com/office/drawing/2014/main" id="{0108AA64-3E48-4D34-A40F-FEC1645DC4E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DF8C2CE-53AB-413A-B2E8-E4B4F0335E0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PanelGray">
            <a:extLst>
              <a:ext uri="{FF2B5EF4-FFF2-40B4-BE49-F238E27FC236}">
                <a16:creationId xmlns:a16="http://schemas.microsoft.com/office/drawing/2014/main" id="{2D49A7DA-D7FA-4121-9746-8FF375B7F456}"/>
              </a:ext>
            </a:extLst>
          </p:cNvPr>
          <p:cNvSpPr/>
          <p:nvPr userDrawn="1"/>
        </p:nvSpPr>
        <p:spPr bwMode="white">
          <a:xfrm>
            <a:off x="0" y="-1588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A49B765C-2B43-4B11-B047-1451987E7D9A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775385" y="2158989"/>
            <a:ext cx="3640123" cy="5416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/>
          </p:nvPr>
        </p:nvSpPr>
        <p:spPr>
          <a:xfrm>
            <a:off x="775385" y="1227050"/>
            <a:ext cx="3640123" cy="66479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D10F5F73-8179-4075-9AD2-DA5A29015D0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6BD64E3-4362-46FF-AD39-3C9A432D7F11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0169563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36D252F1-BD55-4F1C-B58B-B24CDD61EB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4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73058" name="Object 1" hidden="1">
                        <a:extLst>
                          <a:ext uri="{FF2B5EF4-FFF2-40B4-BE49-F238E27FC236}">
                            <a16:creationId xmlns:a16="http://schemas.microsoft.com/office/drawing/2014/main" id="{38D5B5B6-2BEB-4F93-B557-8045230230C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AF4BFFD7-9FC3-4B3C-B21B-25E883AB46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97617F9-156A-4517-89B0-1729F429EB7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:a16="http://schemas.microsoft.com/office/drawing/2014/main" id="{18EFECDE-2064-497E-8EF6-4A6D0EC298AE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090613" y="1457325"/>
            <a:ext cx="1127125" cy="91916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56AD2458-B09F-4359-8821-85FE08D75133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3538" cy="3201026"/>
          </a:xfrm>
          <a:prstGeom prst="rect">
            <a:avLst/>
          </a:prstGeom>
          <a:ln w="9525">
            <a:noFill/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8">
            <a:extLst>
              <a:ext uri="{FF2B5EF4-FFF2-40B4-BE49-F238E27FC236}">
                <a16:creationId xmlns:a16="http://schemas.microsoft.com/office/drawing/2014/main" id="{0A6CBBF9-1878-4545-B6E5-6E72E17296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6949197-A9F6-4980-A800-66909454D925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235992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773B8DB9-B63B-4947-943F-B3D0DEBBC0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6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74082" name="Object 1" hidden="1">
                        <a:extLst>
                          <a:ext uri="{FF2B5EF4-FFF2-40B4-BE49-F238E27FC236}">
                            <a16:creationId xmlns:a16="http://schemas.microsoft.com/office/drawing/2014/main" id="{4A8857BF-7F0E-4AA4-A9C5-597D5896E89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C28AB243-C929-4510-B6AF-C014BC03986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65D2304-E1CD-4FB3-8D4D-76A179B744B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5" name="Line">
            <a:extLst>
              <a:ext uri="{FF2B5EF4-FFF2-40B4-BE49-F238E27FC236}">
                <a16:creationId xmlns:a16="http://schemas.microsoft.com/office/drawing/2014/main" id="{3FD173CD-3B85-45C6-B6FA-715E48D69836}"/>
              </a:ext>
            </a:extLst>
          </p:cNvPr>
          <p:cNvCxnSpPr/>
          <p:nvPr userDrawn="1"/>
        </p:nvCxnSpPr>
        <p:spPr bwMode="white">
          <a:xfrm>
            <a:off x="774700" y="3683000"/>
            <a:ext cx="1141888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8">
            <a:extLst>
              <a:ext uri="{FF2B5EF4-FFF2-40B4-BE49-F238E27FC236}">
                <a16:creationId xmlns:a16="http://schemas.microsoft.com/office/drawing/2014/main" id="{AAA3B3C0-4BBC-44AE-BECA-CED54D89B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E8039D5-0B23-4EA5-BA8A-CF8F3EB63C52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998210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BD04B2BB-BD30-483A-9962-96F3D48EF20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5C5B0018-DC49-4ABD-8FF1-584558C4F14A}"/>
              </a:ext>
            </a:extLst>
          </p:cNvPr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84FD4CBE-7069-41E2-816D-E66185C5796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A47AA8F-5733-442D-840C-A8D1FF9C818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F0F93C64-DD0B-4541-A2DD-4CD61A7579D6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5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280D44AA-E525-499E-A736-39D6DCFC22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967590F-8E45-42DB-8BA1-AD3BA97E5466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449341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1318E6D6-F991-45C2-8B37-AB62F7DBDC5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:a16="http://schemas.microsoft.com/office/drawing/2014/main" id="{A0912D30-3EDC-4C8B-A7E6-C7CD2B543293}"/>
              </a:ext>
            </a:extLst>
          </p:cNvPr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CBE4567B-6974-4AD0-B8DD-1A93EBB81D5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41FDCDB-31DC-4C4E-BB67-F6EB46B8159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DE6B2A12-AB84-4FCC-8584-08EB3F0B505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84150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78399C24-F3E9-4001-A3FA-20E270964E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22D182B-1F44-400D-BEA5-470362695808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442855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EE8D29D7-CB1E-4D04-ADE2-67D843B5D00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232F97D-1FAF-4B36-B49E-64FD540800EE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Shadow">
            <a:extLst>
              <a:ext uri="{FF2B5EF4-FFF2-40B4-BE49-F238E27FC236}">
                <a16:creationId xmlns:a16="http://schemas.microsoft.com/office/drawing/2014/main" id="{134CB4F6-F654-4D60-962E-D2A361EF01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8961438" y="0"/>
            <a:ext cx="51276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:a16="http://schemas.microsoft.com/office/drawing/2014/main" id="{7B75A7D6-CE0B-4B4E-90A4-9E20BB5D12B3}"/>
              </a:ext>
            </a:extLst>
          </p:cNvPr>
          <p:cNvSpPr/>
          <p:nvPr userDrawn="1"/>
        </p:nvSpPr>
        <p:spPr bwMode="white">
          <a:xfrm>
            <a:off x="0" y="0"/>
            <a:ext cx="89677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9E57BC09-76C8-412F-954C-D0AF64BB4B66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790968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2AC7C4BF-44B6-4189-85D2-CBD6498539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B942C9C-3FCD-4444-8EF3-9980C632A042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555413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B566DAD4-609D-4251-BADA-78B05ECAC3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:a16="http://schemas.microsoft.com/office/drawing/2014/main" id="{B30A9EF8-69B0-4819-944A-2476709D1AA6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4AFFB6A9-41AC-443D-A48F-B4A0282F046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FB49918-5A13-46FE-AFCE-256368AD93FE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D862C8EA-F692-479C-B4CA-B09D113AB36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4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3AF8F2DA-4131-4A12-9329-BDB5CE134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C935475-929F-41F7-BE99-4A63BC46BBB1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50865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DCAC4B0E-92C7-4A60-BDCD-F93653A04BF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D3E5F393-5F18-4041-A1A2-58F0752FA185}"/>
              </a:ext>
            </a:extLst>
          </p:cNvPr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BB39B9D2-42C7-41A5-9906-FE6368FBF0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5C16929-E2AA-4E36-9079-F53011DD672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86A8446B-31B0-48C7-9582-7D239DAA0A5F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836B9465-1DEF-497B-88D6-069D9CBBFF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8516907-21E4-47DB-BE4D-5FE3DEEA4891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129657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:a16="http://schemas.microsoft.com/office/drawing/2014/main" id="{E0A83642-9B6A-452F-9E9F-C7B048C8ED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:a16="http://schemas.microsoft.com/office/drawing/2014/main" id="{70E193F7-4659-4919-A5A3-A1A097362CD7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:a16="http://schemas.microsoft.com/office/drawing/2014/main" id="{6ACE9E6B-F1FC-4E27-A931-21B9BC5A4A1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C4AB6BB-D469-4857-975A-D7999FBA2646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2B4C512B-3C0C-410A-A928-DAA3F107C6A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4271262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A97E774B-FCA2-4067-89EE-F5E4B5A61B0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C0DE84F-8FA7-46FD-B7AB-4E28B9617A64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990954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:a16="http://schemas.microsoft.com/office/drawing/2014/main" id="{B1D3B9F6-1699-4FB3-9BAB-3E1D0DE4BF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:a16="http://schemas.microsoft.com/office/drawing/2014/main" id="{D5A879AF-CD65-40B0-9894-1F5F5CE8EEB3}"/>
              </a:ext>
            </a:extLst>
          </p:cNvPr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:a16="http://schemas.microsoft.com/office/drawing/2014/main" id="{609AB59F-3C61-4526-83EB-F63E54BA7F0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F325CA1-8A13-499C-ADD9-E1A5BD6D499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0BB78493-8B43-4BC3-93A2-DC439A7A195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 bwMode="black">
          <a:xfrm>
            <a:off x="775385" y="1785600"/>
            <a:ext cx="60878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DD084D3D-5230-4AB7-A4DE-F9857699C9F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F640273-8EB5-49CB-9E2C-75B3D7984467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143299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46540E4E-C628-468E-8A85-CF1FEF5498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:a16="http://schemas.microsoft.com/office/drawing/2014/main" id="{C025131A-F134-4739-9076-3309A31BB65C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1A3156A5-58EA-474E-B12F-047BD39D7D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8202770-92CF-431F-8165-A82E7925CB00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79FC7076-91D1-4C40-9873-6A472E07AF3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082BA3FB-D248-4DA4-AC1B-0346B6615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7E019AC-6A8F-4A0F-B7A7-F26F44CA2C09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350812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:a16="http://schemas.microsoft.com/office/drawing/2014/main" id="{CB3A36FF-A548-4326-A3D9-0866BF14CFFA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0BB6A9D0-2016-46E0-B4B0-786CB7DDFCF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5E0C024-C825-46AF-ACBE-3D231392797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BC9B0DDA-6AD5-499F-B82F-9D25CD16364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7" name="Picture 10">
            <a:extLst>
              <a:ext uri="{FF2B5EF4-FFF2-40B4-BE49-F238E27FC236}">
                <a16:creationId xmlns:a16="http://schemas.microsoft.com/office/drawing/2014/main" id="{EDC3C260-BFC8-47F9-A1FC-CA3EC022BC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F913BF9F-7C6B-4753-B6BB-680416A18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1246DD7-6BA7-4790-A53C-1360362F1672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03654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38C00831-F374-4102-9C82-4E38E2195D9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613" y="3395663"/>
            <a:ext cx="15970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:a16="http://schemas.microsoft.com/office/drawing/2014/main" id="{C96AF4B9-B08C-42B6-B49A-BAB1A6BEC7E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8EB71159-724A-4717-9824-C3910C0FC72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FCC706C-8F71-40DB-AAC9-FE92F5FFEC90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9D1BC64E-B9E3-4C72-BD3C-193AFE3D05D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39DDE702-6238-4B6C-9A43-8632CEBE72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17C7AC7-78C2-481A-B365-582E2990B3FE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2514652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:a16="http://schemas.microsoft.com/office/drawing/2014/main" id="{0751C7AE-C249-4FF0-8261-85CF5BCBEF5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B0F95480-E9E0-4CB7-8DEF-A9B4D694A27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60240BD-CDF1-45E3-A532-8AEB42BFE4F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2A65B618-C95E-43BD-AB1C-03CA19D530E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27D29AFE-3127-4C96-836E-DFF41AAF0F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C50B9E19-FD9D-4650-B8A5-323D79E36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367A59A-2CA4-4873-8B93-BA5CA740D3BC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747026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3E940221-5AD5-496F-A39D-30B59907B5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9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85346" name="Object 1" hidden="1">
                        <a:extLst>
                          <a:ext uri="{FF2B5EF4-FFF2-40B4-BE49-F238E27FC236}">
                            <a16:creationId xmlns:a16="http://schemas.microsoft.com/office/drawing/2014/main" id="{BECC99F8-6930-46A9-AD13-3074F4838D9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Shadow">
            <a:extLst>
              <a:ext uri="{FF2B5EF4-FFF2-40B4-BE49-F238E27FC236}">
                <a16:creationId xmlns:a16="http://schemas.microsoft.com/office/drawing/2014/main" id="{0C924A77-5E5A-4D69-BD6F-0A135FA2A9E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350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rrowPanelWhite">
            <a:extLst>
              <a:ext uri="{FF2B5EF4-FFF2-40B4-BE49-F238E27FC236}">
                <a16:creationId xmlns:a16="http://schemas.microsoft.com/office/drawing/2014/main" id="{77C0A91B-AC26-4BE6-AD26-A32B17CB7579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>
            <a:extLst>
              <a:ext uri="{FF2B5EF4-FFF2-40B4-BE49-F238E27FC236}">
                <a16:creationId xmlns:a16="http://schemas.microsoft.com/office/drawing/2014/main" id="{83701770-3E60-4A3A-A105-CF6C5497D6D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FB051FF-BC5E-4DD0-9A28-AE33F4211922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FooterSimple" hidden="1">
            <a:extLst>
              <a:ext uri="{FF2B5EF4-FFF2-40B4-BE49-F238E27FC236}">
                <a16:creationId xmlns:a16="http://schemas.microsoft.com/office/drawing/2014/main" id="{0641312B-07C6-4AF5-B986-7029DD5FD34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A2466129-450F-44C1-8815-989E40635C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4DA50D5-BBA9-44FF-A229-7DC2CFE684F8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37713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PanelWhite">
            <a:extLst>
              <a:ext uri="{FF2B5EF4-FFF2-40B4-BE49-F238E27FC236}">
                <a16:creationId xmlns:a16="http://schemas.microsoft.com/office/drawing/2014/main" id="{FCB1A115-8929-46DD-8593-CDCC4F7321EB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3AD57FFC-C8CE-4F57-ABB0-C1553726E85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8384F8D-9F16-4971-8D69-0AD1CB3C713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FDA7546D-A04C-47F7-A3B6-40F8524B71A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7" name="Picture 10">
            <a:extLst>
              <a:ext uri="{FF2B5EF4-FFF2-40B4-BE49-F238E27FC236}">
                <a16:creationId xmlns:a16="http://schemas.microsoft.com/office/drawing/2014/main" id="{5EDD0FEE-ADA8-4907-9B7C-E0DFF10337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9CCDCE71-9592-4133-A940-03C8A3092E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95599B3-EA96-4FEE-96C2-C35AEF8A82AD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34330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CACA137D-9B38-488A-A782-5486EB35E43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138" y="3594100"/>
            <a:ext cx="1679575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:a16="http://schemas.microsoft.com/office/drawing/2014/main" id="{B63C6A25-F8AC-4A1B-8535-7D5DC49BEE56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5306F1AD-2126-426F-9CC7-A5481E8EBAE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3EBCB1C-1A64-4EC0-97D0-E86CD7704912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D2311299-5F98-4668-B37D-2C4ACFF7B6E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BD070D90-5D96-48A5-B745-78E605B065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A415AE1-0C4E-4217-AAFF-3AE71C969B4E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550804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:a16="http://schemas.microsoft.com/office/drawing/2014/main" id="{9367303D-DF93-4291-8E7F-E76D6A069415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1A77B7F1-3A10-4C83-96C8-48F1226DA8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56F3E84-4190-4009-85E8-7714FEE7E45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53A09D20-7829-4BAE-B2D8-AB94D8D10020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7">
            <a:extLst>
              <a:ext uri="{FF2B5EF4-FFF2-40B4-BE49-F238E27FC236}">
                <a16:creationId xmlns:a16="http://schemas.microsoft.com/office/drawing/2014/main" id="{E2C168B1-9B6A-4D45-BF0E-D4700C939E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846773D7-930E-48E6-A58F-70BF8E6C2C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ED6605FD-E652-4B48-9A32-71B44982D42B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81063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262E1839-AED3-4C9F-A34F-2A32C6DE933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AE5D808B-53BF-44F8-802A-435341460BAB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91C46BBC-CE54-44BF-A56F-3D98754DB4B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B03B22B-6FE8-4F63-92FE-F23532E2A201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93E55920-67B6-43BE-A5DD-799DC270ED0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4B1E2EB5-86C8-4643-B7EE-2323CD1260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8514689-94AE-4460-966F-545F5D376F10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4621826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D506CC57-CB73-4C21-AA18-4CBAE500903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B85734F-A3F3-4DE4-B4F7-0C876AE2FC5C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363B9765-068B-4EF6-9D62-7698919D909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B0AC23-73E8-42F4-ADFA-7A4562B20D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0903231-81FB-40C9-86EB-DC0A0EEF7F18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2684053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02C75205-3773-4CA1-9499-0E988E90ED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1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90466" name="Object 1" hidden="1">
                        <a:extLst>
                          <a:ext uri="{FF2B5EF4-FFF2-40B4-BE49-F238E27FC236}">
                            <a16:creationId xmlns:a16="http://schemas.microsoft.com/office/drawing/2014/main" id="{403F1ED9-D451-49F7-BDD6-CFDC94C7BF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AA46A775-C0D4-400D-B906-37497A7732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D3A2FFA-8B6B-48FD-85FF-9EFA1C9D9BB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:a16="http://schemas.microsoft.com/office/drawing/2014/main" id="{CFB0E8B5-F74C-49B0-88E7-75BD549D7323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774700" y="622300"/>
            <a:ext cx="1130300" cy="919163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CECA139F-C161-425D-9C74-54037EB8AAF4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3BB7D157-CD68-4FAD-B9F3-5AD1A2548A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76D356E-901E-4A58-8E52-E9F811C55737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334926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:a16="http://schemas.microsoft.com/office/drawing/2014/main" id="{06D77B46-B427-47BF-A8DA-D37532731C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age">
            <a:extLst>
              <a:ext uri="{FF2B5EF4-FFF2-40B4-BE49-F238E27FC236}">
                <a16:creationId xmlns:a16="http://schemas.microsoft.com/office/drawing/2014/main" id="{83177034-2B13-446B-8893-A88057B3C74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A3F162B-FB57-419C-948A-9E0008EDD300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" name="Bubble">
            <a:extLst>
              <a:ext uri="{FF2B5EF4-FFF2-40B4-BE49-F238E27FC236}">
                <a16:creationId xmlns:a16="http://schemas.microsoft.com/office/drawing/2014/main" id="{706336C4-5F7B-4D31-A634-7A5245A01B19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5" name="Rectangle 9">
              <a:extLst>
                <a:ext uri="{FF2B5EF4-FFF2-40B4-BE49-F238E27FC236}">
                  <a16:creationId xmlns:a16="http://schemas.microsoft.com/office/drawing/2014/main" id="{2CDC3468-6075-482B-AB61-30B7E62E593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6" name="Right Triangle 10">
              <a:extLst>
                <a:ext uri="{FF2B5EF4-FFF2-40B4-BE49-F238E27FC236}">
                  <a16:creationId xmlns:a16="http://schemas.microsoft.com/office/drawing/2014/main" id="{3D2CF36C-14FF-4B6A-B68D-11396F9C83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6AE24993-84AE-431F-9E65-4DC36E36AB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CD34D81-4F69-44F5-9F0C-738AF0F84C96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103269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181F4C06-37E5-4FAB-AFAD-955923D14B44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48F8CBD-F911-4C2E-8340-83E0856B9ADA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3D83085F-242E-4104-9B20-FFB8067D390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2">
            <a:extLst>
              <a:ext uri="{FF2B5EF4-FFF2-40B4-BE49-F238E27FC236}">
                <a16:creationId xmlns:a16="http://schemas.microsoft.com/office/drawing/2014/main" id="{6E7B770E-D8E5-4C7A-81A9-642273BAB4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7E0E4A3-F7B9-4D82-AF87-3376A6B0B227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975791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:a16="http://schemas.microsoft.com/office/drawing/2014/main" id="{B18322E1-DFDF-47A7-B9B0-4A5F6F9ECFF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ArrowPanelWhite">
            <a:extLst>
              <a:ext uri="{FF2B5EF4-FFF2-40B4-BE49-F238E27FC236}">
                <a16:creationId xmlns:a16="http://schemas.microsoft.com/office/drawing/2014/main" id="{D74FBF9A-0E84-4220-811F-1CEC311E57BD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CE5BF3D5-83B6-4C4F-A4A7-14ACF00F75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2A0CAD2-CC24-49ED-ADDD-A6B222A7E5E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extBox 12">
            <a:extLst>
              <a:ext uri="{FF2B5EF4-FFF2-40B4-BE49-F238E27FC236}">
                <a16:creationId xmlns:a16="http://schemas.microsoft.com/office/drawing/2014/main" id="{263D44D4-2E57-429B-9823-493F9C29CE9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2000" y="2711450"/>
            <a:ext cx="2738438" cy="1435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ts val="700"/>
              </a:spcAft>
              <a:defRPr/>
            </a:pPr>
            <a:r>
              <a:rPr lang="en-US" altLang="en-US" sz="4400">
                <a:solidFill>
                  <a:srgbClr val="295E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87DCA586-1C8A-4505-880A-003D58ACDAA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0E54DB52-DFB4-40B3-B92F-BC92F32A64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55EC5B2-E7EA-44CA-AD3A-621A2D4B4CD5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672995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>
            <a:extLst>
              <a:ext uri="{FF2B5EF4-FFF2-40B4-BE49-F238E27FC236}">
                <a16:creationId xmlns:a16="http://schemas.microsoft.com/office/drawing/2014/main" id="{E747749D-22A2-467A-8070-42296A0F035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233613B-2E69-4946-88AC-A0B73DA71793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FooterSimple" hidden="1">
            <a:extLst>
              <a:ext uri="{FF2B5EF4-FFF2-40B4-BE49-F238E27FC236}">
                <a16:creationId xmlns:a16="http://schemas.microsoft.com/office/drawing/2014/main" id="{D31C768D-5DB7-4C49-AF9D-9895FDE1084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4" name="Date Placeholder 4">
            <a:extLst>
              <a:ext uri="{FF2B5EF4-FFF2-40B4-BE49-F238E27FC236}">
                <a16:creationId xmlns:a16="http://schemas.microsoft.com/office/drawing/2014/main" id="{A4B96F15-E777-4C00-8E76-D03880E9DA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7CDFEBB-DC0A-47DE-85C8-64CA8EC20E8D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467210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25EBB8A-56BF-448A-8B28-8392060C3B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4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95586" name="Object 1" hidden="1">
                        <a:extLst>
                          <a:ext uri="{FF2B5EF4-FFF2-40B4-BE49-F238E27FC236}">
                            <a16:creationId xmlns:a16="http://schemas.microsoft.com/office/drawing/2014/main" id="{5CBD3DFC-DA9E-4348-BA86-297C2996CBD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537D13F6-1310-4F7A-9B50-36BF19BF4E4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CBC1FB5-6A7C-4BF6-86CF-CD704821F5A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FE07F536-D72B-4260-9180-C6BAAC2C6BA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Date Placeholder 6">
            <a:extLst>
              <a:ext uri="{FF2B5EF4-FFF2-40B4-BE49-F238E27FC236}">
                <a16:creationId xmlns:a16="http://schemas.microsoft.com/office/drawing/2014/main" id="{EFAE996D-DFCC-4C66-BE75-3D03CADB51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69C08CE-6406-4876-8418-5B395530661C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142485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022F0FB-7D3D-4C23-90D8-48E498166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6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96610" name="Object 1" hidden="1">
                        <a:extLst>
                          <a:ext uri="{FF2B5EF4-FFF2-40B4-BE49-F238E27FC236}">
                            <a16:creationId xmlns:a16="http://schemas.microsoft.com/office/drawing/2014/main" id="{67A30A34-BE12-4081-A979-2C3FB0B87B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8E828D8E-58DF-4A49-8B0B-9C1C3253F1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C2C5C3E-942E-4BB8-AD70-D7A23AF7BEC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EB06A2A3-C3D5-46EA-84C5-322F446CA7C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</p:spTree>
    <p:extLst>
      <p:ext uri="{BB962C8B-B14F-4D97-AF65-F5344CB8AC3E}">
        <p14:creationId xmlns:p14="http://schemas.microsoft.com/office/powerpoint/2010/main" val="3461161141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7992951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84D04CE-5F8F-43C6-8C1A-87AE95F199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8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98658" name="Object 1" hidden="1">
                        <a:extLst>
                          <a:ext uri="{FF2B5EF4-FFF2-40B4-BE49-F238E27FC236}">
                            <a16:creationId xmlns:a16="http://schemas.microsoft.com/office/drawing/2014/main" id="{985BB71A-8EF3-44CC-91E1-27667B40254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7136E8F9-D60F-4C99-A2C7-D185294B86C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8BDFE2F-8BF0-4BC6-BD0E-033297DDA522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" name="A4Grid">
            <a:extLst>
              <a:ext uri="{FF2B5EF4-FFF2-40B4-BE49-F238E27FC236}">
                <a16:creationId xmlns:a16="http://schemas.microsoft.com/office/drawing/2014/main" id="{37DE3AA3-01F9-48AB-8CBD-265BB97EEF3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5" name="Slide edges">
              <a:extLst>
                <a:ext uri="{FF2B5EF4-FFF2-40B4-BE49-F238E27FC236}">
                  <a16:creationId xmlns:a16="http://schemas.microsoft.com/office/drawing/2014/main" id="{FABB2B5F-231F-4423-AEA4-1ECEB2ED63D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6" name="No-fly zone">
              <a:extLst>
                <a:ext uri="{FF2B5EF4-FFF2-40B4-BE49-F238E27FC236}">
                  <a16:creationId xmlns:a16="http://schemas.microsoft.com/office/drawing/2014/main" id="{6379C9D0-6A92-42F8-9ABD-EAE3651562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29400 w 9906000"/>
                <a:gd name="T1" fmla="*/ 622800 h 6858000"/>
                <a:gd name="T2" fmla="*/ 629400 w 9906000"/>
                <a:gd name="T3" fmla="*/ 6156000 h 6858000"/>
                <a:gd name="T4" fmla="*/ 9276600 w 9906000"/>
                <a:gd name="T5" fmla="*/ 6156000 h 6858000"/>
                <a:gd name="T6" fmla="*/ 9276600 w 9906000"/>
                <a:gd name="T7" fmla="*/ 622800 h 6858000"/>
                <a:gd name="T8" fmla="*/ 0 w 9906000"/>
                <a:gd name="T9" fmla="*/ 0 h 6858000"/>
                <a:gd name="T10" fmla="*/ 629400 w 9906000"/>
                <a:gd name="T11" fmla="*/ 0 h 6858000"/>
                <a:gd name="T12" fmla="*/ 629400 w 9906000"/>
                <a:gd name="T13" fmla="*/ 0 h 6858000"/>
                <a:gd name="T14" fmla="*/ 9276600 w 9906000"/>
                <a:gd name="T15" fmla="*/ 0 h 6858000"/>
                <a:gd name="T16" fmla="*/ 9906000 w 9906000"/>
                <a:gd name="T17" fmla="*/ 0 h 6858000"/>
                <a:gd name="T18" fmla="*/ 9906000 w 9906000"/>
                <a:gd name="T19" fmla="*/ 622800 h 6858000"/>
                <a:gd name="T20" fmla="*/ 9906000 w 9906000"/>
                <a:gd name="T21" fmla="*/ 6156000 h 6858000"/>
                <a:gd name="T22" fmla="*/ 9906000 w 9906000"/>
                <a:gd name="T23" fmla="*/ 6858000 h 6858000"/>
                <a:gd name="T24" fmla="*/ 9276600 w 9906000"/>
                <a:gd name="T25" fmla="*/ 6858000 h 6858000"/>
                <a:gd name="T26" fmla="*/ 629400 w 9906000"/>
                <a:gd name="T27" fmla="*/ 6858000 h 6858000"/>
                <a:gd name="T28" fmla="*/ 0 w 9906000"/>
                <a:gd name="T29" fmla="*/ 6858000 h 6858000"/>
                <a:gd name="T30" fmla="*/ 0 w 9906000"/>
                <a:gd name="T31" fmla="*/ 6858000 h 6858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lnTo>
                    <a:pt x="6294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" name="Footnote measure">
              <a:extLst>
                <a:ext uri="{FF2B5EF4-FFF2-40B4-BE49-F238E27FC236}">
                  <a16:creationId xmlns:a16="http://schemas.microsoft.com/office/drawing/2014/main" id="{641462AA-BEDD-405E-872B-AD56F9AFF3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8" name="Whitespace measure">
              <a:extLst>
                <a:ext uri="{FF2B5EF4-FFF2-40B4-BE49-F238E27FC236}">
                  <a16:creationId xmlns:a16="http://schemas.microsoft.com/office/drawing/2014/main" id="{533A95C1-4376-4D1D-9110-C201111902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545454"/>
                </a:solidFill>
                <a:latin typeface="Trebuchet MS"/>
              </a:endParaRPr>
            </a:p>
          </p:txBody>
        </p:sp>
        <p:grpSp>
          <p:nvGrpSpPr>
            <p:cNvPr id="9" name="Gutter space">
              <a:extLst>
                <a:ext uri="{FF2B5EF4-FFF2-40B4-BE49-F238E27FC236}">
                  <a16:creationId xmlns:a16="http://schemas.microsoft.com/office/drawing/2014/main" id="{7399500A-C581-4BD9-956F-9C21342C638B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39" name="Gutter 11">
                <a:extLst>
                  <a:ext uri="{FF2B5EF4-FFF2-40B4-BE49-F238E27FC236}">
                    <a16:creationId xmlns:a16="http://schemas.microsoft.com/office/drawing/2014/main" id="{01C8450A-1B56-41C3-9E91-568F3CED32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0" name="Gutter 10">
                <a:extLst>
                  <a:ext uri="{FF2B5EF4-FFF2-40B4-BE49-F238E27FC236}">
                    <a16:creationId xmlns:a16="http://schemas.microsoft.com/office/drawing/2014/main" id="{6621E829-A214-441C-AE41-469C3DB4EF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1" name="Gutter 9">
                <a:extLst>
                  <a:ext uri="{FF2B5EF4-FFF2-40B4-BE49-F238E27FC236}">
                    <a16:creationId xmlns:a16="http://schemas.microsoft.com/office/drawing/2014/main" id="{C7300D6A-087E-43B8-A1FF-306BEC2415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2" name="Gutter 8">
                <a:extLst>
                  <a:ext uri="{FF2B5EF4-FFF2-40B4-BE49-F238E27FC236}">
                    <a16:creationId xmlns:a16="http://schemas.microsoft.com/office/drawing/2014/main" id="{44786630-B6FC-4B8B-A642-0766134BCE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3" name="Gutter 7">
                <a:extLst>
                  <a:ext uri="{FF2B5EF4-FFF2-40B4-BE49-F238E27FC236}">
                    <a16:creationId xmlns:a16="http://schemas.microsoft.com/office/drawing/2014/main" id="{0E7DBE6D-4892-43EE-BE67-3293F9B0AF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4" name="Gutter 6">
                <a:extLst>
                  <a:ext uri="{FF2B5EF4-FFF2-40B4-BE49-F238E27FC236}">
                    <a16:creationId xmlns:a16="http://schemas.microsoft.com/office/drawing/2014/main" id="{F03D0E15-3ACF-4316-BDA3-1E8E966E78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5" name="Gutter 5">
                <a:extLst>
                  <a:ext uri="{FF2B5EF4-FFF2-40B4-BE49-F238E27FC236}">
                    <a16:creationId xmlns:a16="http://schemas.microsoft.com/office/drawing/2014/main" id="{3BC852FD-A5A3-47F2-9DBF-C91F16CA1B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6" name="Gutter 4">
                <a:extLst>
                  <a:ext uri="{FF2B5EF4-FFF2-40B4-BE49-F238E27FC236}">
                    <a16:creationId xmlns:a16="http://schemas.microsoft.com/office/drawing/2014/main" id="{890F2AD2-96D9-47E7-91F1-119C2424C6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7" name="Gutter 3">
                <a:extLst>
                  <a:ext uri="{FF2B5EF4-FFF2-40B4-BE49-F238E27FC236}">
                    <a16:creationId xmlns:a16="http://schemas.microsoft.com/office/drawing/2014/main" id="{0518457E-6A9E-4641-A40F-C79DFEA3B4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8" name="Gutter 2">
                <a:extLst>
                  <a:ext uri="{FF2B5EF4-FFF2-40B4-BE49-F238E27FC236}">
                    <a16:creationId xmlns:a16="http://schemas.microsoft.com/office/drawing/2014/main" id="{FD8EDC2F-5846-405A-A9D5-11CBF7ECC8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9" name="Gutter 1">
                <a:extLst>
                  <a:ext uri="{FF2B5EF4-FFF2-40B4-BE49-F238E27FC236}">
                    <a16:creationId xmlns:a16="http://schemas.microsoft.com/office/drawing/2014/main" id="{4D03A0A0-CB4F-4C16-A72E-D825C4569F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grpSp>
          <p:nvGrpSpPr>
            <p:cNvPr id="10" name="Baselines/Anchors">
              <a:extLst>
                <a:ext uri="{FF2B5EF4-FFF2-40B4-BE49-F238E27FC236}">
                  <a16:creationId xmlns:a16="http://schemas.microsoft.com/office/drawing/2014/main" id="{1C5AC810-E834-4D70-AAFA-AE99731B85F4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19" name="Line 20">
                <a:extLst>
                  <a:ext uri="{FF2B5EF4-FFF2-40B4-BE49-F238E27FC236}">
                    <a16:creationId xmlns:a16="http://schemas.microsoft.com/office/drawing/2014/main" id="{E2184A09-FCDA-4EEA-AAC4-6F55A9D0354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0" name="Line 19">
                <a:extLst>
                  <a:ext uri="{FF2B5EF4-FFF2-40B4-BE49-F238E27FC236}">
                    <a16:creationId xmlns:a16="http://schemas.microsoft.com/office/drawing/2014/main" id="{E91AE0F6-A928-49AA-913C-328A5E15EE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1" name="Line 18">
                <a:extLst>
                  <a:ext uri="{FF2B5EF4-FFF2-40B4-BE49-F238E27FC236}">
                    <a16:creationId xmlns:a16="http://schemas.microsoft.com/office/drawing/2014/main" id="{97A8783C-A4AA-4055-9F70-18E55F5C1C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Line 17">
                <a:extLst>
                  <a:ext uri="{FF2B5EF4-FFF2-40B4-BE49-F238E27FC236}">
                    <a16:creationId xmlns:a16="http://schemas.microsoft.com/office/drawing/2014/main" id="{55CA698B-94BD-4204-BB52-2B29BE254C4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" name="Line 16">
                <a:extLst>
                  <a:ext uri="{FF2B5EF4-FFF2-40B4-BE49-F238E27FC236}">
                    <a16:creationId xmlns:a16="http://schemas.microsoft.com/office/drawing/2014/main" id="{40CBD9FE-D820-4B91-A659-CC13FDD7332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Line 15">
                <a:extLst>
                  <a:ext uri="{FF2B5EF4-FFF2-40B4-BE49-F238E27FC236}">
                    <a16:creationId xmlns:a16="http://schemas.microsoft.com/office/drawing/2014/main" id="{E7683DEB-2528-40DB-B280-4F821D87F33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5" name="Line 14">
                <a:extLst>
                  <a:ext uri="{FF2B5EF4-FFF2-40B4-BE49-F238E27FC236}">
                    <a16:creationId xmlns:a16="http://schemas.microsoft.com/office/drawing/2014/main" id="{534EF89F-F974-46C3-8B84-79EA1805C5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Line 13">
                <a:extLst>
                  <a:ext uri="{FF2B5EF4-FFF2-40B4-BE49-F238E27FC236}">
                    <a16:creationId xmlns:a16="http://schemas.microsoft.com/office/drawing/2014/main" id="{737B01B3-9735-43EE-BBCA-3B0900D2166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7" name="Line 12">
                <a:extLst>
                  <a:ext uri="{FF2B5EF4-FFF2-40B4-BE49-F238E27FC236}">
                    <a16:creationId xmlns:a16="http://schemas.microsoft.com/office/drawing/2014/main" id="{E1BCB6D1-CB4E-4024-87F3-3EB2333F415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8" name="Line 11">
                <a:extLst>
                  <a:ext uri="{FF2B5EF4-FFF2-40B4-BE49-F238E27FC236}">
                    <a16:creationId xmlns:a16="http://schemas.microsoft.com/office/drawing/2014/main" id="{12F552D9-C837-4F9A-8E3D-B2F41C0E5BD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9" name="Line 10">
                <a:extLst>
                  <a:ext uri="{FF2B5EF4-FFF2-40B4-BE49-F238E27FC236}">
                    <a16:creationId xmlns:a16="http://schemas.microsoft.com/office/drawing/2014/main" id="{3F4B6C27-ACAA-484F-BF89-AAB7975940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0" name="Line 9">
                <a:extLst>
                  <a:ext uri="{FF2B5EF4-FFF2-40B4-BE49-F238E27FC236}">
                    <a16:creationId xmlns:a16="http://schemas.microsoft.com/office/drawing/2014/main" id="{2E90B2A0-0C21-4AF6-B3A5-B26516E99A3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Line 8">
                <a:extLst>
                  <a:ext uri="{FF2B5EF4-FFF2-40B4-BE49-F238E27FC236}">
                    <a16:creationId xmlns:a16="http://schemas.microsoft.com/office/drawing/2014/main" id="{CD3F22DF-C8A7-48E5-B8BA-8C53751034C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2" name="Line 7">
                <a:extLst>
                  <a:ext uri="{FF2B5EF4-FFF2-40B4-BE49-F238E27FC236}">
                    <a16:creationId xmlns:a16="http://schemas.microsoft.com/office/drawing/2014/main" id="{E9B1F6BF-C1E9-4C5A-B78C-0A512D54E6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" name="Line 6">
                <a:extLst>
                  <a:ext uri="{FF2B5EF4-FFF2-40B4-BE49-F238E27FC236}">
                    <a16:creationId xmlns:a16="http://schemas.microsoft.com/office/drawing/2014/main" id="{2F5AB3FF-40F2-4FFF-BAAC-9E9796393F9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4" name="Line 5">
                <a:extLst>
                  <a:ext uri="{FF2B5EF4-FFF2-40B4-BE49-F238E27FC236}">
                    <a16:creationId xmlns:a16="http://schemas.microsoft.com/office/drawing/2014/main" id="{3691344F-1AD9-4026-B038-E0E2EBE7A8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Line 4">
                <a:extLst>
                  <a:ext uri="{FF2B5EF4-FFF2-40B4-BE49-F238E27FC236}">
                    <a16:creationId xmlns:a16="http://schemas.microsoft.com/office/drawing/2014/main" id="{32AF0420-7D3B-40A6-A78B-44AFF5ABA1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Line 3">
                <a:extLst>
                  <a:ext uri="{FF2B5EF4-FFF2-40B4-BE49-F238E27FC236}">
                    <a16:creationId xmlns:a16="http://schemas.microsoft.com/office/drawing/2014/main" id="{BDDC526E-AFBB-48A4-80E8-F6859B2022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7" name="Line 2">
                <a:extLst>
                  <a:ext uri="{FF2B5EF4-FFF2-40B4-BE49-F238E27FC236}">
                    <a16:creationId xmlns:a16="http://schemas.microsoft.com/office/drawing/2014/main" id="{5DE3AE30-8FF8-489A-98C0-21613B0C40E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Line 1">
                <a:extLst>
                  <a:ext uri="{FF2B5EF4-FFF2-40B4-BE49-F238E27FC236}">
                    <a16:creationId xmlns:a16="http://schemas.microsoft.com/office/drawing/2014/main" id="{41CFC52E-05B9-456F-A05C-4264198935D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BD71B08A-0A5F-4650-B477-8E2DC0379DBA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4" name="Column 5">
                <a:extLst>
                  <a:ext uri="{FF2B5EF4-FFF2-40B4-BE49-F238E27FC236}">
                    <a16:creationId xmlns:a16="http://schemas.microsoft.com/office/drawing/2014/main" id="{73FE16A8-B45E-4AA4-863F-7767C94B4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5" name="Column 4">
                <a:extLst>
                  <a:ext uri="{FF2B5EF4-FFF2-40B4-BE49-F238E27FC236}">
                    <a16:creationId xmlns:a16="http://schemas.microsoft.com/office/drawing/2014/main" id="{48C6E9A9-26CC-4D82-84D9-AAB6EE4767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6" name="Column 3">
                <a:extLst>
                  <a:ext uri="{FF2B5EF4-FFF2-40B4-BE49-F238E27FC236}">
                    <a16:creationId xmlns:a16="http://schemas.microsoft.com/office/drawing/2014/main" id="{38318007-3F0B-482B-B465-A25501AF74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7" name="Column 2">
                <a:extLst>
                  <a:ext uri="{FF2B5EF4-FFF2-40B4-BE49-F238E27FC236}">
                    <a16:creationId xmlns:a16="http://schemas.microsoft.com/office/drawing/2014/main" id="{DA33DB6C-69E9-47B0-96B2-4394DE59A7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8" name="Column 1">
                <a:extLst>
                  <a:ext uri="{FF2B5EF4-FFF2-40B4-BE49-F238E27FC236}">
                    <a16:creationId xmlns:a16="http://schemas.microsoft.com/office/drawing/2014/main" id="{364337AC-ACB8-4068-B775-EE9EC8FCF0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sp>
          <p:nvSpPr>
            <p:cNvPr id="12" name="Live space">
              <a:extLst>
                <a:ext uri="{FF2B5EF4-FFF2-40B4-BE49-F238E27FC236}">
                  <a16:creationId xmlns:a16="http://schemas.microsoft.com/office/drawing/2014/main" id="{26033D4B-5FC4-453E-AD29-5E42471C15C5}"/>
                </a:ext>
              </a:extLst>
            </p:cNvPr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rgbClr val="545454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:a16="http://schemas.microsoft.com/office/drawing/2014/main" id="{4A92570D-02E5-44C5-B3E0-E6BCC4C1B95A}"/>
                </a:ext>
              </a:extLst>
            </p:cNvPr>
            <p:cNvSpPr txBox="1">
              <a:spLocks noChangeAspect="1"/>
            </p:cNvSpPr>
            <p:nvPr userDrawn="1"/>
          </p:nvSpPr>
          <p:spPr bwMode="auto">
            <a:xfrm>
              <a:off x="629444" y="6099175"/>
              <a:ext cx="7283748" cy="4619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lang="en-US" altLang="en-US" sz="10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0" name="FooterSimple" hidden="1">
            <a:extLst>
              <a:ext uri="{FF2B5EF4-FFF2-40B4-BE49-F238E27FC236}">
                <a16:creationId xmlns:a16="http://schemas.microsoft.com/office/drawing/2014/main" id="{578DAB91-5F42-4FAF-82EF-782F839D8A92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1" name="Date Placeholder 1">
            <a:extLst>
              <a:ext uri="{FF2B5EF4-FFF2-40B4-BE49-F238E27FC236}">
                <a16:creationId xmlns:a16="http://schemas.microsoft.com/office/drawing/2014/main" id="{CD5E3C08-9134-4A67-A860-154687C502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346DC8C-BBC7-43E5-8E08-B68874421ACA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3833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42573AD-F70A-49D3-BE7A-F07738D85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AA7BE-F69B-45CB-B4F8-D652EDA8EFB8}" type="datetime1">
              <a:rPr lang="en-US" smtClean="0"/>
              <a:t>5/25/2021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99883DA-B6C2-4657-A652-0A53B49BFA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2861C96-385A-4FF1-8724-8C4542C365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E04836-9FBE-455F-B394-67607151040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895193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:a16="http://schemas.microsoft.com/office/drawing/2014/main" id="{BC33F2A4-04C0-45D8-86F2-2434CF8E40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Gray">
            <a:extLst>
              <a:ext uri="{FF2B5EF4-FFF2-40B4-BE49-F238E27FC236}">
                <a16:creationId xmlns:a16="http://schemas.microsoft.com/office/drawing/2014/main" id="{817F19AF-2ACD-400B-A42C-865AAADDBA4C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9">
            <a:extLst>
              <a:ext uri="{FF2B5EF4-FFF2-40B4-BE49-F238E27FC236}">
                <a16:creationId xmlns:a16="http://schemas.microsoft.com/office/drawing/2014/main" id="{01545765-1A0C-4BBA-97EC-B8208501627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0300864-F631-4F66-868D-0A7C86F5D0F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EBC8699A-C1EA-46C7-B9B2-04FD5BD24C2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">
          <a:xfrm>
            <a:off x="775384" y="1785600"/>
            <a:ext cx="4269724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8F6CB683-4D3C-44EA-94C6-FE4CEE664C0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5F24269-8D74-493D-B426-2A99126A255E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53017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94AF0FCD-7CE1-400A-9635-F58E6A3CAB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3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199682" name="Object 2" hidden="1">
                        <a:extLst>
                          <a:ext uri="{FF2B5EF4-FFF2-40B4-BE49-F238E27FC236}">
                            <a16:creationId xmlns:a16="http://schemas.microsoft.com/office/drawing/2014/main" id="{4F4A3622-EAD2-48E4-9253-556F71D01E4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DFF4DDD4-3BC7-4C15-8267-3B132558C12C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66BCFD4-2A9A-4434-B03D-5F7392CB8BAA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7562F4CF-7598-46F0-9089-2C23D8DB36E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515DA1F9-A4FD-44A9-B584-22F95B7BEFEB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BC0577C0-8BCC-4AFD-A048-471B490F1085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4076A42B-7037-44EB-897D-3FB68E86B45B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 dirty="0">
                <a:solidFill>
                  <a:srgbClr val="FFFFFF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2278086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76783469-A460-43C9-820F-4F2ED650C3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37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200706" name="Object 2" hidden="1">
                        <a:extLst>
                          <a:ext uri="{FF2B5EF4-FFF2-40B4-BE49-F238E27FC236}">
                            <a16:creationId xmlns:a16="http://schemas.microsoft.com/office/drawing/2014/main" id="{F27AF81D-9906-404C-8B64-69F848A6CF3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44221CEF-2394-4B46-86B2-48EF5B431AC0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87826D1-6426-41D2-A568-54D90599D3D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C181F291-BEDF-46C8-9637-8BA439BC0A9F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BF09F7A6-9E42-4AF0-862B-4CAB7BEF733B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eaLnBrk="1" fontAlgn="auto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525E27C0-3906-40DC-9D9F-299654548525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472540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E309BE84-9D60-4274-858F-9936EA0A73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61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201730" name="Object 2" hidden="1">
                        <a:extLst>
                          <a:ext uri="{FF2B5EF4-FFF2-40B4-BE49-F238E27FC236}">
                            <a16:creationId xmlns:a16="http://schemas.microsoft.com/office/drawing/2014/main" id="{3E60BC21-D1FA-434D-8B3E-AFDCF41AB6F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CD9E237C-7364-4424-86E6-FFD90114E74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811726E-5809-47BC-B194-0A78063E4B5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BEE22F63-A794-4D6B-ABD9-0361ED873EF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cxnSp>
        <p:nvCxnSpPr>
          <p:cNvPr id="5" name="Straight Connector 9">
            <a:extLst>
              <a:ext uri="{FF2B5EF4-FFF2-40B4-BE49-F238E27FC236}">
                <a16:creationId xmlns:a16="http://schemas.microsoft.com/office/drawing/2014/main" id="{FB8AEF98-18C2-4A30-B757-73982524FF22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10">
            <a:extLst>
              <a:ext uri="{FF2B5EF4-FFF2-40B4-BE49-F238E27FC236}">
                <a16:creationId xmlns:a16="http://schemas.microsoft.com/office/drawing/2014/main" id="{DA9949A5-ADB8-41A4-B5AE-E9F70639BE87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800">
                <a:solidFill>
                  <a:prstClr val="white">
                    <a:lumMod val="100000"/>
                  </a:prst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14164082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61F5FC7-A9D9-4DD1-ADEC-D134D60CB8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8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02754" name="Object 1" hidden="1">
                        <a:extLst>
                          <a:ext uri="{FF2B5EF4-FFF2-40B4-BE49-F238E27FC236}">
                            <a16:creationId xmlns:a16="http://schemas.microsoft.com/office/drawing/2014/main" id="{D60B48DE-B55E-4375-AA6F-F74CE248485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:a16="http://schemas.microsoft.com/office/drawing/2014/main" id="{0F08B5EB-7CA6-4E9E-899D-D4DC91C0971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37AA6D7D-E6B8-42F1-9988-2FC512942416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D049AB53-3839-4F11-B5DA-10475961E9C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0038291-EC9B-45B1-8D6D-68E8384DEF77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1974E852-197C-4D1B-B184-6187628DFEF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extBox 14">
            <a:extLst>
              <a:ext uri="{FF2B5EF4-FFF2-40B4-BE49-F238E27FC236}">
                <a16:creationId xmlns:a16="http://schemas.microsoft.com/office/drawing/2014/main" id="{74F4E40D-CF1E-467D-B077-B35FB9B2048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4700" y="2681288"/>
            <a:ext cx="3044825" cy="149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2800">
                <a:solidFill>
                  <a:srgbClr val="FFFFFF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15679209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7628C62-EDA2-45D5-9BB6-81B3D3D89B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40" name="Слайд think-cell" r:id="rId9" imgW="360" imgH="360" progId="TCLayout.ActiveDocument.1">
                  <p:embed/>
                </p:oleObj>
              </mc:Choice>
              <mc:Fallback>
                <p:oleObj name="Слайд think-cell" r:id="rId9" imgW="360" imgH="360" progId="TCLayout.ActiveDocument.1">
                  <p:embed/>
                  <p:pic>
                    <p:nvPicPr>
                      <p:cNvPr id="203778" name="Object 1" hidden="1">
                        <a:extLst>
                          <a:ext uri="{FF2B5EF4-FFF2-40B4-BE49-F238E27FC236}">
                            <a16:creationId xmlns:a16="http://schemas.microsoft.com/office/drawing/2014/main" id="{DC9706A6-02A2-45B8-990A-E8BEF327A37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252C5994-8A51-479D-8BD9-919CAE1E3DA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4CCAAEE-9196-4442-8825-02EADA0C7711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48F8DE-B720-498E-AFBA-BC8C89F42D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4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203780" name="Object 3" hidden="1">
                        <a:extLst>
                          <a:ext uri="{FF2B5EF4-FFF2-40B4-BE49-F238E27FC236}">
                            <a16:creationId xmlns:a16="http://schemas.microsoft.com/office/drawing/2014/main" id="{75EBDA7F-2B1C-4DB5-93A3-94E038A2044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1746F03E-7FD4-42D2-821A-92120677FB37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B9DFA36D-6AD7-4063-9238-5549ACB6B8E7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E3A37C2B-1458-4251-8AEA-9EB140E6E919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E20E7295-0724-4DAE-9196-FB47B89160B3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08483506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D752585-EDD3-469C-9A3D-B055A1390F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64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04802" name="Object 1" hidden="1">
                        <a:extLst>
                          <a:ext uri="{FF2B5EF4-FFF2-40B4-BE49-F238E27FC236}">
                            <a16:creationId xmlns:a16="http://schemas.microsoft.com/office/drawing/2014/main" id="{3FD8B1F6-3F78-4926-B5CE-7A0AB9C7613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63BF1F0C-AC8A-45C0-8A7B-F2DE3CD5893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38556A6-1618-4626-AEBA-3F5F611940C8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9BB7B3C-4FC3-4BC1-8AC5-9D5D0F58D4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6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204804" name="Object 3" hidden="1">
                        <a:extLst>
                          <a:ext uri="{FF2B5EF4-FFF2-40B4-BE49-F238E27FC236}">
                            <a16:creationId xmlns:a16="http://schemas.microsoft.com/office/drawing/2014/main" id="{F7AAB574-90BA-46B5-9BB9-AA7B5DC2600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F842DC50-E8EA-43B9-947B-5964E2FB68C1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F7EACC41-449F-426D-A9EC-3A1A508B15FE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eaLnBrk="1" fontAlgn="auto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4E98C6">
                  <a:lumMod val="10000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E6F78C2C-53E2-4EE6-A038-EEFFB6B813B5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890491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BB20017-5E09-4423-8091-FE862C6377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88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05826" name="Object 1" hidden="1">
                        <a:extLst>
                          <a:ext uri="{FF2B5EF4-FFF2-40B4-BE49-F238E27FC236}">
                            <a16:creationId xmlns:a16="http://schemas.microsoft.com/office/drawing/2014/main" id="{0F97F5E3-0E26-495B-84C3-642D4B0DCC9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C4FE1147-3FCB-4F0D-B264-69B54948A86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FAB19E3-A4F4-41F6-8622-6EB2377CAB9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655D6BA-9FAE-4460-B484-59E87AD80E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8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205828" name="Object 3" hidden="1">
                        <a:extLst>
                          <a:ext uri="{FF2B5EF4-FFF2-40B4-BE49-F238E27FC236}">
                            <a16:creationId xmlns:a16="http://schemas.microsoft.com/office/drawing/2014/main" id="{36F5C49A-4BAF-4C52-B611-8B3A7E47ADB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5ED73A76-DD7C-4A35-A5E1-1429D50DA125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cxnSp>
        <p:nvCxnSpPr>
          <p:cNvPr id="6" name="Straight Connector 7">
            <a:extLst>
              <a:ext uri="{FF2B5EF4-FFF2-40B4-BE49-F238E27FC236}">
                <a16:creationId xmlns:a16="http://schemas.microsoft.com/office/drawing/2014/main" id="{27FB6C8E-A4C3-4E0A-BCA4-D933642378A4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8">
            <a:extLst>
              <a:ext uri="{FF2B5EF4-FFF2-40B4-BE49-F238E27FC236}">
                <a16:creationId xmlns:a16="http://schemas.microsoft.com/office/drawing/2014/main" id="{A7772AF9-E1CD-4CED-AA29-C4C5A71000E5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4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79673500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8C38FF1-AB4A-4151-B901-A9DFFC9604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8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06850" name="Object 1" hidden="1">
                        <a:extLst>
                          <a:ext uri="{FF2B5EF4-FFF2-40B4-BE49-F238E27FC236}">
                            <a16:creationId xmlns:a16="http://schemas.microsoft.com/office/drawing/2014/main" id="{7C456CDA-CC40-46C3-A695-F81C9CBA890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:a16="http://schemas.microsoft.com/office/drawing/2014/main" id="{0D65F41F-DAFD-4584-AEB9-8F29C18BAF0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:a16="http://schemas.microsoft.com/office/drawing/2014/main" id="{73EAA593-3816-4B30-B1C7-22DAB714EFB5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F57987A2-56C5-4EC5-B72E-FB457A28F6E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D502D3D-F774-49C1-BDA9-538BF4BA361E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0BC574C6-E9DC-47B7-B4C6-1A9C8C7F315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extBox 14">
            <a:extLst>
              <a:ext uri="{FF2B5EF4-FFF2-40B4-BE49-F238E27FC236}">
                <a16:creationId xmlns:a16="http://schemas.microsoft.com/office/drawing/2014/main" id="{9C2A51CD-1D90-4B82-87BC-8308219D732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4700" y="2681288"/>
            <a:ext cx="3044825" cy="149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2400">
                <a:solidFill>
                  <a:srgbClr val="FFFFFF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63170519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FD29219-604F-49BB-B317-3B80C098FC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0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07874" name="Object 1" hidden="1">
                        <a:extLst>
                          <a:ext uri="{FF2B5EF4-FFF2-40B4-BE49-F238E27FC236}">
                            <a16:creationId xmlns:a16="http://schemas.microsoft.com/office/drawing/2014/main" id="{B404DB5A-C1D2-41F1-99CA-0BC65E778D5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:a16="http://schemas.microsoft.com/office/drawing/2014/main" id="{395A8B1E-A634-4CC9-B7AD-96C9CD1201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:a16="http://schemas.microsoft.com/office/drawing/2014/main" id="{E65983F3-2F67-42F6-B545-CC666D9E318B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CB712989-5C22-4E45-AA38-EFA9FBD5664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696E00F-242E-457B-A6C5-F420A50F8DE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TextBox 13">
            <a:extLst>
              <a:ext uri="{FF2B5EF4-FFF2-40B4-BE49-F238E27FC236}">
                <a16:creationId xmlns:a16="http://schemas.microsoft.com/office/drawing/2014/main" id="{2178FC9C-2510-4BD8-A969-5C4EFAC526E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2000" y="2711450"/>
            <a:ext cx="2738438" cy="1435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ts val="700"/>
              </a:spcAft>
              <a:defRPr/>
            </a:pPr>
            <a:r>
              <a:rPr lang="en-US" altLang="en-US" sz="4400">
                <a:solidFill>
                  <a:srgbClr val="295E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4F3FAE82-2FD1-4959-ABD9-BE2CD85CC4C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</p:spTree>
    <p:extLst>
      <p:ext uri="{BB962C8B-B14F-4D97-AF65-F5344CB8AC3E}">
        <p14:creationId xmlns:p14="http://schemas.microsoft.com/office/powerpoint/2010/main" val="1911521896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nelWhite">
            <a:extLst>
              <a:ext uri="{FF2B5EF4-FFF2-40B4-BE49-F238E27FC236}">
                <a16:creationId xmlns:a16="http://schemas.microsoft.com/office/drawing/2014/main" id="{BE9D0DD7-F188-4C13-89D3-255A4BBB3751}"/>
              </a:ext>
            </a:extLst>
          </p:cNvPr>
          <p:cNvSpPr/>
          <p:nvPr userDrawn="1"/>
        </p:nvSpPr>
        <p:spPr>
          <a:xfrm>
            <a:off x="0" y="5278438"/>
            <a:ext cx="12192000" cy="157956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Shadow">
            <a:extLst>
              <a:ext uri="{FF2B5EF4-FFF2-40B4-BE49-F238E27FC236}">
                <a16:creationId xmlns:a16="http://schemas.microsoft.com/office/drawing/2014/main" id="{AB99AE52-1F95-4DAB-A380-5B2585433A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" t="102" r="8742" b="1730"/>
          <a:stretch>
            <a:fillRect/>
          </a:stretch>
        </p:blipFill>
        <p:spPr bwMode="auto">
          <a:xfrm>
            <a:off x="3751263" y="5094288"/>
            <a:ext cx="8440737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:a16="http://schemas.microsoft.com/office/drawing/2014/main" id="{1CD2A8D0-CD99-4593-9468-D6E38F6FFE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404" r="38" b="24950"/>
          <a:stretch>
            <a:fillRect/>
          </a:stretch>
        </p:blipFill>
        <p:spPr bwMode="auto">
          <a:xfrm>
            <a:off x="-17463" y="0"/>
            <a:ext cx="12218988" cy="52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>
            <a:extLst>
              <a:ext uri="{FF2B5EF4-FFF2-40B4-BE49-F238E27FC236}">
                <a16:creationId xmlns:a16="http://schemas.microsoft.com/office/drawing/2014/main" id="{C20F5BF2-CF88-452F-88CD-5B30F428BF7F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71525" y="1509713"/>
            <a:ext cx="7913688" cy="4646612"/>
          </a:xfrm>
          <a:prstGeom prst="rect">
            <a:avLst/>
          </a:prstGeom>
          <a:gradFill rotWithShape="0">
            <a:gsLst>
              <a:gs pos="0">
                <a:srgbClr val="071117"/>
              </a:gs>
              <a:gs pos="100000">
                <a:srgbClr val="295E7E">
                  <a:alpha val="89999"/>
                </a:srgbClr>
              </a:gs>
            </a:gsLst>
            <a:lin ang="8400000"/>
          </a:gra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1000"/>
              </a:spcAft>
              <a:defRPr/>
            </a:pPr>
            <a:endParaRPr lang="en-US" alt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2" descr="Image result for министерство труда казахстана logo">
            <a:extLst>
              <a:ext uri="{FF2B5EF4-FFF2-40B4-BE49-F238E27FC236}">
                <a16:creationId xmlns:a16="http://schemas.microsoft.com/office/drawing/2014/main" id="{BCDD4FDB-1B18-4A41-836D-3BA1515A97F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701800"/>
            <a:ext cx="901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4">
            <a:extLst>
              <a:ext uri="{FF2B5EF4-FFF2-40B4-BE49-F238E27FC236}">
                <a16:creationId xmlns:a16="http://schemas.microsoft.com/office/drawing/2014/main" id="{7A6B33F5-80AE-4922-9FF0-5A221607DE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Министерство труда и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социальной защиты населения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Республики Казахстан</a:t>
            </a:r>
            <a:endParaRPr lang="en-US" altLang="en-US" sz="1400" b="1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Logo Placeholder"/>
          <p:cNvSpPr>
            <a:spLocks noGrp="1"/>
          </p:cNvSpPr>
          <p:nvPr>
            <p:ph type="pic" sz="quarter" idx="13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74945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:a16="http://schemas.microsoft.com/office/drawing/2014/main" id="{51F226D3-7C57-4E05-AEC7-FF53F798F0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Gray">
            <a:extLst>
              <a:ext uri="{FF2B5EF4-FFF2-40B4-BE49-F238E27FC236}">
                <a16:creationId xmlns:a16="http://schemas.microsoft.com/office/drawing/2014/main" id="{924F17E1-EB1C-47BD-90C1-648EF641E35A}"/>
              </a:ext>
            </a:extLst>
          </p:cNvPr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:a16="http://schemas.microsoft.com/office/drawing/2014/main" id="{0107EEC9-C079-4AC2-97E7-60BB67103A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950F127-220B-466D-9932-F0F5DF2C374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F6C4C780-FC93-4F17-8CF7-069B78ED3D3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608985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2E43C9BD-6A7C-4CC5-AEEE-560201C89D6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E243D4DA-1407-4D0A-84AB-CB5413E34BA5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6417106"/>
      </p:ext>
    </p:ext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5650FF17-639E-4250-9D09-F4836C4A73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09922" name="Object 1" hidden="1">
                        <a:extLst>
                          <a:ext uri="{FF2B5EF4-FFF2-40B4-BE49-F238E27FC236}">
                            <a16:creationId xmlns:a16="http://schemas.microsoft.com/office/drawing/2014/main" id="{87091C14-197B-461A-A384-21A0820792D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B512D235-423F-4D6E-90D3-37494120553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5AEBB6E-A8C0-41A0-A2E0-013076E3CEF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DB12CD90-3C4C-45F6-AA9A-43B31D7C9852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D64F35F4-DBA9-4E15-A202-D461947F4D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1BE849E-598A-497C-BC0D-D36E8C2DEFDB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828168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D6BA643D-BB48-4F16-8586-EA2783060D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7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10946" name="Object 1" hidden="1">
                        <a:extLst>
                          <a:ext uri="{FF2B5EF4-FFF2-40B4-BE49-F238E27FC236}">
                            <a16:creationId xmlns:a16="http://schemas.microsoft.com/office/drawing/2014/main" id="{B7D25B35-5E8F-4A40-B228-F4528728BF5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EB1F7084-30FA-4312-BEB5-E9D593E86E8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2737F41-4A21-4899-9EEA-AE93E5B1E49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PanelGray">
            <a:extLst>
              <a:ext uri="{FF2B5EF4-FFF2-40B4-BE49-F238E27FC236}">
                <a16:creationId xmlns:a16="http://schemas.microsoft.com/office/drawing/2014/main" id="{0D04E656-50CE-47B2-A496-CE21BB188181}"/>
              </a:ext>
            </a:extLst>
          </p:cNvPr>
          <p:cNvSpPr/>
          <p:nvPr userDrawn="1"/>
        </p:nvSpPr>
        <p:spPr bwMode="ltGray">
          <a:xfrm>
            <a:off x="0" y="0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BDA95C62-AC8F-44F5-913F-45768880CB0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 bwMode="ltGray">
          <a:xfrm>
            <a:off x="775384" y="1544274"/>
            <a:ext cx="3359506" cy="1495794"/>
          </a:xfrm>
          <a:noFill/>
        </p:spPr>
        <p:txBody>
          <a:bodyPr rIns="320040" anchor="b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D9E2C22E-3BAB-4355-9C0D-2070FC80C7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F7C6002-93AD-4D13-8B9B-ECD1DC22FE37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8558657"/>
      </p:ext>
    </p:extLst>
  </p:cSld>
  <p:clrMapOvr>
    <a:masterClrMapping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4E27FCDB-9AF4-4564-8DC2-B67F37598E3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923336B-7E85-4512-9ADE-63C2698C413C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Square">
            <a:extLst>
              <a:ext uri="{FF2B5EF4-FFF2-40B4-BE49-F238E27FC236}">
                <a16:creationId xmlns:a16="http://schemas.microsoft.com/office/drawing/2014/main" id="{DCBFB9FD-FF3B-4734-AC1E-780CC3AE7819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090613" y="1457325"/>
            <a:ext cx="1128712" cy="9191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235B7104-F8CD-4DFB-8EE8-A019A563A09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28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2C3564DA-6A1B-4524-8BBA-1BB306DAAF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91627E3-4FA1-48E9-A5E1-D82A33B1B642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387269"/>
      </p:ext>
    </p:extLst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897FA915-1901-41BF-A0EC-2D6DB0ADCED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53AA339-4BDA-4DEC-95FD-26139C2FF15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4" name="Line">
            <a:extLst>
              <a:ext uri="{FF2B5EF4-FFF2-40B4-BE49-F238E27FC236}">
                <a16:creationId xmlns:a16="http://schemas.microsoft.com/office/drawing/2014/main" id="{DB87B8D0-88B3-4080-8EA5-28D3EEECE052}"/>
              </a:ext>
            </a:extLst>
          </p:cNvPr>
          <p:cNvCxnSpPr/>
          <p:nvPr userDrawn="1"/>
        </p:nvCxnSpPr>
        <p:spPr bwMode="white">
          <a:xfrm>
            <a:off x="774700" y="3679825"/>
            <a:ext cx="11417300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6A509B3A-345D-430E-BBCA-B34B77864C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5C5CD7D-6AB9-4D8F-BCFA-67D16955996E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577500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920B35D6-DCC7-4794-9051-2B0D40543E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0FE54AAA-1A42-44A6-98B1-E842E3CE91C4}"/>
              </a:ext>
            </a:extLst>
          </p:cNvPr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01212D09-763A-41D0-A70E-7F6CB60DA8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F038B6B-8239-41F6-B381-4FA0E15B390F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5A8D9DDE-5F5A-47A8-AFD1-F78003A4710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5077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B49BF893-79E4-4B08-AC60-934EB8CC4B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A7C4C5B-CD93-4FA7-98C3-2614A9D745BA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6265928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546A3268-8862-451E-8F76-40846FBC4D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2AC032AA-20C3-4709-A3C2-281915D0E532}"/>
              </a:ext>
            </a:extLst>
          </p:cNvPr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F80C8DCE-361F-4E60-859D-A99B34407E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B95F0CF-555B-4A6B-B7D6-29700FCA373F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B5809548-EDD6-4DF6-B955-5188C5EDF0E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A3D90437-40BC-459B-86C7-3CE0BA731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F50A24A-F2CD-4B4D-B589-E6671326C8F0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804202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0CF1DEA3-2DB5-473A-9C04-B3E23C709E8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E0A4FF68-9458-4FAB-B0E3-A3FA8374BA29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F841D606-0DCB-4B44-BF63-D4AEEA02BA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53ED833-CCE7-4897-987A-FD1158EA001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64CDF476-849B-4D27-B967-F39248BEC5E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EB5A7030-B1B5-433B-BEBE-FD7C2E9F5D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12A65B4-B856-42D4-BA73-2ED2D7F21FA2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2625696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:a16="http://schemas.microsoft.com/office/drawing/2014/main" id="{98295319-4A0A-4F4E-9663-4113D802D7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Gray">
            <a:extLst>
              <a:ext uri="{FF2B5EF4-FFF2-40B4-BE49-F238E27FC236}">
                <a16:creationId xmlns:a16="http://schemas.microsoft.com/office/drawing/2014/main" id="{23BFC30A-CCC0-4878-9A68-DBAA78C1F0A1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9">
            <a:extLst>
              <a:ext uri="{FF2B5EF4-FFF2-40B4-BE49-F238E27FC236}">
                <a16:creationId xmlns:a16="http://schemas.microsoft.com/office/drawing/2014/main" id="{BBB23ABA-C7FA-42AD-83AB-5F5FF8638A8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BC337DB-C61C-4CBA-A498-1548513B7EF6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A27DBE4D-F011-4C31-B922-E384B33D0E4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">
          <a:xfrm>
            <a:off x="775384" y="1785600"/>
            <a:ext cx="4269724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E31351F5-6C85-4A67-95FE-4231B41B6F1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24135B5-93FF-4703-BE8E-1319EC4A3878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358159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:a16="http://schemas.microsoft.com/office/drawing/2014/main" id="{4E2C9DEF-CB79-4406-BC7A-49ACAC4DBBC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Gray">
            <a:extLst>
              <a:ext uri="{FF2B5EF4-FFF2-40B4-BE49-F238E27FC236}">
                <a16:creationId xmlns:a16="http://schemas.microsoft.com/office/drawing/2014/main" id="{B53ED56C-8055-4924-B1E2-2A503F058718}"/>
              </a:ext>
            </a:extLst>
          </p:cNvPr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:a16="http://schemas.microsoft.com/office/drawing/2014/main" id="{812A25F1-9DD8-421F-885E-FB563FEB637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73544FD-9872-4B87-93C1-E93045513212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E7515C95-1903-4E81-B183-5E5F238E8CF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608985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77D5EC7D-A6FC-4F14-9998-228D58BF361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D52A611-650F-44E5-9101-5EA31FD20547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225375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64C1F657-A189-41EF-941D-20DC6ED0B55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:a16="http://schemas.microsoft.com/office/drawing/2014/main" id="{17869A78-3EB2-4410-870C-B8F13C88B0A4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B1697650-EE67-49C1-AAE7-11DF32CA3C8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5970AE2-B618-4F5F-B9C7-5839E09CCAE8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00BDD133-109A-4916-8F3F-EADD307C7D0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/>
          </p:nvPr>
        </p:nvSpPr>
        <p:spPr>
          <a:xfrm>
            <a:off x="775386" y="2680200"/>
            <a:ext cx="2442215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C07E6A97-0719-48F5-B170-F328ADAE23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61A5217-12B3-4AD1-8E12-28A3877C7E69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767943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3452AB51-CFD3-4AEE-869F-BF9D67665F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:a16="http://schemas.microsoft.com/office/drawing/2014/main" id="{CF86A31B-0128-4E40-9569-8AAD92969383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1E14FE74-774C-42D3-8A67-8D9E8DB9ECC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2B2FDF7-860E-470F-9566-FAD4E8D1DAF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55909AD3-B0F6-4B1C-986A-181CBC7D603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/>
          </p:nvPr>
        </p:nvSpPr>
        <p:spPr>
          <a:xfrm>
            <a:off x="775386" y="2680200"/>
            <a:ext cx="2442215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90F8F74A-BD38-4350-A3C1-AE9D7C6930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6F74DA2-B8F6-42AD-959F-8827E2DDFAF2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415243"/>
      </p:ext>
    </p:extLst>
  </p:cSld>
  <p:clrMapOvr>
    <a:masterClrMapping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:a16="http://schemas.microsoft.com/office/drawing/2014/main" id="{205B402F-8D9D-4C6B-967E-090A70757888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4490CF6A-D80E-47D7-8964-5252811CDDD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F4602A1-FC2A-4298-A1C9-5E4793E6E47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D2205E12-E90A-4881-8363-AF5092DD7E4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A74A43E1-E008-42B1-A500-BCD7A6278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75386" y="2680199"/>
            <a:ext cx="2442215" cy="1497600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5AF1C166-D8CB-4C85-8E38-08E3BC194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05DF466-4806-4014-9879-413796E33528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111550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64CCDBEF-ABC9-477B-B8E8-EFD792CF232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613" y="3395663"/>
            <a:ext cx="15970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:a16="http://schemas.microsoft.com/office/drawing/2014/main" id="{124B25D1-A18A-4759-855B-918E72B4B7B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855628C8-E56C-46C8-A750-4D354D7D7CA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060C805-7B40-40AD-B6F5-93AFDE43A20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2564D8CA-818D-437F-AC88-EF150C2FFA66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8F217293-94C0-4C5E-9F6A-4098BC690A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C5F6309-EB37-46F9-8B34-F03D6C2F310A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384883"/>
      </p:ext>
    </p:extLst>
  </p:cSld>
  <p:clrMapOvr>
    <a:masterClrMapping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:a16="http://schemas.microsoft.com/office/drawing/2014/main" id="{9A434DA8-254C-4004-899B-2B959DEC2FB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42C0B361-880D-40BA-ADC4-F5A1334A232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3CC637F-DE0C-4478-84DE-C7F8248E8CC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11129BFE-8456-41FA-BDA4-93A918CE716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ADB86FA6-AE31-4F82-ACD9-668FC1DB18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34D6D626-B8BF-41A0-9446-18C4D6ED9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1AE1005-06D8-4B7A-B886-BAA165681F7C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1972093"/>
      </p:ext>
    </p:extLst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A16FCC53-1AFE-4F4F-8B17-F835F4E341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350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:a16="http://schemas.microsoft.com/office/drawing/2014/main" id="{C3CEA24F-0A76-4FA2-A1AE-6E025E7F6AAE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CEF79837-E103-4AF0-A529-2BE545D72B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AD313D4-BFF0-4442-93F4-6E1A40D34B0A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2B198454-D790-46E1-B59C-F2807F1004C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37F1BB37-7E49-444B-816B-C42330376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3887F3E-CF05-4CAC-9197-37024176640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518080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:a16="http://schemas.microsoft.com/office/drawing/2014/main" id="{66397D63-75F6-41D6-9BCD-3DE5BB143D7D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9B2826C6-C9E3-4077-B585-C9D48087865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5DBCA90-37A8-41CF-BB5D-5B520078905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356BFB8E-3BCD-4D41-89F0-B04FACD431A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8">
            <a:extLst>
              <a:ext uri="{FF2B5EF4-FFF2-40B4-BE49-F238E27FC236}">
                <a16:creationId xmlns:a16="http://schemas.microsoft.com/office/drawing/2014/main" id="{BFEE63F6-92BF-455E-A707-512DD0F61A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A109B5D-6943-4856-9733-6D4375060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0200419-38CC-4091-A1F5-CCC5E470C8AD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471048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5E28A6CB-FA81-4999-94CE-B4079EE305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138" y="3594100"/>
            <a:ext cx="1679575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:a16="http://schemas.microsoft.com/office/drawing/2014/main" id="{F53EE824-F45B-43E2-A015-E23C2205E293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AEAC27F9-2A11-4E14-817F-BC0098435B4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4E3E045-A583-43F2-B82C-FE5862907D7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FA2ED2A4-E965-422F-ACFF-1F2AC2B6B51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AE2BA99A-BD8C-4D15-AF0F-7201C1D633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D61774F-64D3-4798-A019-F2A75E87943C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961506"/>
      </p:ext>
    </p:extLst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:a16="http://schemas.microsoft.com/office/drawing/2014/main" id="{69F2A232-EF9F-49CF-B0B6-89068ABDECC7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A53E2691-C66D-40AF-A58B-055DBA69895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F298352-9C34-46E7-9D85-742D611A40E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7AC9763F-8EB3-44F4-A4D6-0F38D35273F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9">
            <a:extLst>
              <a:ext uri="{FF2B5EF4-FFF2-40B4-BE49-F238E27FC236}">
                <a16:creationId xmlns:a16="http://schemas.microsoft.com/office/drawing/2014/main" id="{81D49774-A3D7-4F75-9054-228340919D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8E3DADD-D3AF-4119-838F-6E050DB279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D29E918-F6F2-43C3-8ECD-B7D47E867083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68760"/>
      </p:ext>
    </p:extLst>
  </p:cSld>
  <p:clrMapOvr>
    <a:masterClrMapping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57ABC799-14C8-4ACD-BD3F-B6AA725A9F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D5FB304-9068-488F-86CD-BDD0C0DC404F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F083D106-4687-4F03-9F4A-F5210C7778C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483FE24-780F-4F7C-8223-C8A41AC898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F56135F-3319-4222-97FF-3376E6BAB71B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431602"/>
      </p:ext>
    </p:extLst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82977F7B-BB7B-4D3A-B579-495C2B5CF6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0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28354" name="Object 1" hidden="1">
                        <a:extLst>
                          <a:ext uri="{FF2B5EF4-FFF2-40B4-BE49-F238E27FC236}">
                            <a16:creationId xmlns:a16="http://schemas.microsoft.com/office/drawing/2014/main" id="{E251C272-58FD-4398-AF09-1C7967DABFA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61AC4050-7C0B-432C-97EF-2DC975951F8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381C37D-CCFB-4BA3-BD1A-C56D1A3E5F0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:a16="http://schemas.microsoft.com/office/drawing/2014/main" id="{81814AFE-F0FC-432B-AA87-67624C31235C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774700" y="625475"/>
            <a:ext cx="1130300" cy="917575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06D2648E-F394-4487-A529-9B311DDC684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99B34BC5-0083-4BE6-90C5-189E7A60F4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24AAB1F-F540-48D7-A9CD-05D0D17883EE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735148"/>
      </p:ext>
    </p:extLst>
  </p:cSld>
  <p:clrMapOvr>
    <a:masterClrMapping/>
  </p:clrMapOvr>
  <p:transition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:a16="http://schemas.microsoft.com/office/drawing/2014/main" id="{948EC66E-ABFB-4A9E-A8F3-AF127509DD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Bubble">
            <a:extLst>
              <a:ext uri="{FF2B5EF4-FFF2-40B4-BE49-F238E27FC236}">
                <a16:creationId xmlns:a16="http://schemas.microsoft.com/office/drawing/2014/main" id="{C505C5F7-97A1-4583-BD80-B15368D879D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D8316A4-8018-47F5-BC38-47F3FD0648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" name="Right Triangle 55">
              <a:extLst>
                <a:ext uri="{FF2B5EF4-FFF2-40B4-BE49-F238E27FC236}">
                  <a16:creationId xmlns:a16="http://schemas.microsoft.com/office/drawing/2014/main" id="{0D35A17E-CB31-4E35-B20D-631CC0243C7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6" name="Page">
            <a:extLst>
              <a:ext uri="{FF2B5EF4-FFF2-40B4-BE49-F238E27FC236}">
                <a16:creationId xmlns:a16="http://schemas.microsoft.com/office/drawing/2014/main" id="{3B18092B-4327-4E22-BE35-0D9B87933B7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2E7A2E6-3F3F-45A3-A588-D026252DA54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210811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:a16="http://schemas.microsoft.com/office/drawing/2014/main" id="{503A829A-0712-4771-8A27-CF21DCA80259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442A4B8F-FDA8-467F-A18E-43E9FA9A91A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1BE3622-8A1C-477C-8E82-C120A7702CE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78FDBA60-4C83-463E-81A3-67FE07B457E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B182CAA4-1968-46A5-A697-D3CC636753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75386" y="2680199"/>
            <a:ext cx="2442215" cy="1497600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A027B1A6-F76F-4E10-8D67-8412E645A3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8279F20-E585-4F64-9C01-670E74C9E8B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996112"/>
      </p:ext>
    </p:extLst>
  </p:cSld>
  <p:clrMapOvr>
    <a:masterClrMapping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9FD2DFA3-19D6-4BF8-BF25-8BDFD2CB343A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A165BDB-E481-46E1-AD58-EC377A88F98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6EA51ED9-BE7F-4B83-A557-16FCAF34818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F0286203-C8C0-4EDF-8513-10485D7F655C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CB3AE3A-946C-40B6-B731-A7D791B140FD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0773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8820E50-FBD9-4987-AF30-2E6BEF6E31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2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31426" name="Object 1" hidden="1">
                        <a:extLst>
                          <a:ext uri="{FF2B5EF4-FFF2-40B4-BE49-F238E27FC236}">
                            <a16:creationId xmlns:a16="http://schemas.microsoft.com/office/drawing/2014/main" id="{25DA7E49-91CA-479D-9765-BB427209692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C0E665D3-EBAE-4D9A-A7AB-B67ECB3AC61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20D5F2A-A4B8-486D-9C86-2C0D249ABE7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856E7B41-62B7-40C1-96B1-AFB8AAEA2F8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211D22-8933-4F50-A91F-51B5302C9E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9E7544F-EF94-4C6F-9E98-EE084CC273BA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7398479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>
            <a:extLst>
              <a:ext uri="{FF2B5EF4-FFF2-40B4-BE49-F238E27FC236}">
                <a16:creationId xmlns:a16="http://schemas.microsoft.com/office/drawing/2014/main" id="{F435AADE-7155-40DB-989E-47B9794118D0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C1E5294-32F7-4BE4-B2B1-F3D7507506CC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FooterSimple" hidden="1">
            <a:extLst>
              <a:ext uri="{FF2B5EF4-FFF2-40B4-BE49-F238E27FC236}">
                <a16:creationId xmlns:a16="http://schemas.microsoft.com/office/drawing/2014/main" id="{67396DC5-CA89-4F19-BF2A-28B30F5EAF6F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CDDBE86F-ADB8-4CA4-A10E-8EE5B48921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7DD78C8-25D7-47C2-9710-4CD2A798C12D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929356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0A09B9-1141-44B3-81B3-F47D436B93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4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33474" name="Object 1" hidden="1">
                        <a:extLst>
                          <a:ext uri="{FF2B5EF4-FFF2-40B4-BE49-F238E27FC236}">
                            <a16:creationId xmlns:a16="http://schemas.microsoft.com/office/drawing/2014/main" id="{07EF9D92-0CCE-4A3E-9179-83E5ADF507F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FC8C5CEA-958C-49A7-9163-D99497784F5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1CB7D91-F0B5-4F12-80D3-27BDCCFE3668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16623703-9A60-432A-AF56-E87F36EC79B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1721070"/>
      </p:ext>
    </p:extLst>
  </p:cSld>
  <p:clrMapOvr>
    <a:masterClrMapping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168821"/>
      </p:ext>
    </p:extLst>
  </p:cSld>
  <p:clrMapOvr>
    <a:masterClrMapping/>
  </p:clrMapOvr>
  <p:transition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yout gu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DBF89C1-97AD-4F86-8AE3-67C33FFEAD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7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35522" name="Object 1" hidden="1">
                        <a:extLst>
                          <a:ext uri="{FF2B5EF4-FFF2-40B4-BE49-F238E27FC236}">
                            <a16:creationId xmlns:a16="http://schemas.microsoft.com/office/drawing/2014/main" id="{F35C0DDA-08DB-4394-A109-10C1B78EE1F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8C345C31-05EC-4833-A0F1-9E86FC161E6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5B363A5-806B-49B9-AD2E-2B25E38FC11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C4654D91-82EC-4228-B2EC-0BA3A5DFAFC7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16200000">
            <a:off x="9452769" y="3921919"/>
            <a:ext cx="5133975" cy="968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C8DDF13B-04E4-4337-A79A-66E87FED5D32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6" name="A4Grid">
            <a:extLst>
              <a:ext uri="{FF2B5EF4-FFF2-40B4-BE49-F238E27FC236}">
                <a16:creationId xmlns:a16="http://schemas.microsoft.com/office/drawing/2014/main" id="{A661CE56-9228-48D5-A7E2-B2881094D626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FE1BBE07-625D-44B4-8ADF-1CA11C7163F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8" name="No-fly zone">
              <a:extLst>
                <a:ext uri="{FF2B5EF4-FFF2-40B4-BE49-F238E27FC236}">
                  <a16:creationId xmlns:a16="http://schemas.microsoft.com/office/drawing/2014/main" id="{58B8651C-AC42-4F6D-A876-7F35E12C6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29400 w 9906000"/>
                <a:gd name="T1" fmla="*/ 622800 h 6858000"/>
                <a:gd name="T2" fmla="*/ 629400 w 9906000"/>
                <a:gd name="T3" fmla="*/ 6156000 h 6858000"/>
                <a:gd name="T4" fmla="*/ 9276600 w 9906000"/>
                <a:gd name="T5" fmla="*/ 6156000 h 6858000"/>
                <a:gd name="T6" fmla="*/ 9276600 w 9906000"/>
                <a:gd name="T7" fmla="*/ 622800 h 6858000"/>
                <a:gd name="T8" fmla="*/ 0 w 9906000"/>
                <a:gd name="T9" fmla="*/ 0 h 6858000"/>
                <a:gd name="T10" fmla="*/ 629400 w 9906000"/>
                <a:gd name="T11" fmla="*/ 0 h 6858000"/>
                <a:gd name="T12" fmla="*/ 629400 w 9906000"/>
                <a:gd name="T13" fmla="*/ 0 h 6858000"/>
                <a:gd name="T14" fmla="*/ 9276600 w 9906000"/>
                <a:gd name="T15" fmla="*/ 0 h 6858000"/>
                <a:gd name="T16" fmla="*/ 9906000 w 9906000"/>
                <a:gd name="T17" fmla="*/ 0 h 6858000"/>
                <a:gd name="T18" fmla="*/ 9906000 w 9906000"/>
                <a:gd name="T19" fmla="*/ 622800 h 6858000"/>
                <a:gd name="T20" fmla="*/ 9906000 w 9906000"/>
                <a:gd name="T21" fmla="*/ 6156000 h 6858000"/>
                <a:gd name="T22" fmla="*/ 9906000 w 9906000"/>
                <a:gd name="T23" fmla="*/ 6858000 h 6858000"/>
                <a:gd name="T24" fmla="*/ 9276600 w 9906000"/>
                <a:gd name="T25" fmla="*/ 6858000 h 6858000"/>
                <a:gd name="T26" fmla="*/ 629400 w 9906000"/>
                <a:gd name="T27" fmla="*/ 6858000 h 6858000"/>
                <a:gd name="T28" fmla="*/ 0 w 9906000"/>
                <a:gd name="T29" fmla="*/ 6858000 h 6858000"/>
                <a:gd name="T30" fmla="*/ 0 w 9906000"/>
                <a:gd name="T31" fmla="*/ 6858000 h 6858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lnTo>
                    <a:pt x="6294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DF3CC99D-6BDA-4667-9DE9-A2006D93A7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:a16="http://schemas.microsoft.com/office/drawing/2014/main" id="{66997487-3621-4010-83E6-4EBD46D01F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545454"/>
                </a:solidFill>
                <a:latin typeface="Trebuchet MS"/>
              </a:endParaRPr>
            </a:p>
          </p:txBody>
        </p:sp>
        <p:grpSp>
          <p:nvGrpSpPr>
            <p:cNvPr id="11" name="Gutter space">
              <a:extLst>
                <a:ext uri="{FF2B5EF4-FFF2-40B4-BE49-F238E27FC236}">
                  <a16:creationId xmlns:a16="http://schemas.microsoft.com/office/drawing/2014/main" id="{7B868E81-B4CF-472C-8E14-9739B910BC55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41" name="Gutter 11">
                <a:extLst>
                  <a:ext uri="{FF2B5EF4-FFF2-40B4-BE49-F238E27FC236}">
                    <a16:creationId xmlns:a16="http://schemas.microsoft.com/office/drawing/2014/main" id="{C875DFAF-9ED9-4D42-B588-91FF22E7C9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2" name="Gutter 10">
                <a:extLst>
                  <a:ext uri="{FF2B5EF4-FFF2-40B4-BE49-F238E27FC236}">
                    <a16:creationId xmlns:a16="http://schemas.microsoft.com/office/drawing/2014/main" id="{B304EBC0-C9C8-4599-8077-C3C7089E9E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3" name="Gutter 9">
                <a:extLst>
                  <a:ext uri="{FF2B5EF4-FFF2-40B4-BE49-F238E27FC236}">
                    <a16:creationId xmlns:a16="http://schemas.microsoft.com/office/drawing/2014/main" id="{32ADC0A8-8808-4ACD-941D-540784885A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4" name="Gutter 8">
                <a:extLst>
                  <a:ext uri="{FF2B5EF4-FFF2-40B4-BE49-F238E27FC236}">
                    <a16:creationId xmlns:a16="http://schemas.microsoft.com/office/drawing/2014/main" id="{55000667-39FF-4524-BEF4-FD77C83F3A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5" name="Gutter 7">
                <a:extLst>
                  <a:ext uri="{FF2B5EF4-FFF2-40B4-BE49-F238E27FC236}">
                    <a16:creationId xmlns:a16="http://schemas.microsoft.com/office/drawing/2014/main" id="{10D3494D-23A7-4DE1-BA87-52D668AC55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6" name="Gutter 6">
                <a:extLst>
                  <a:ext uri="{FF2B5EF4-FFF2-40B4-BE49-F238E27FC236}">
                    <a16:creationId xmlns:a16="http://schemas.microsoft.com/office/drawing/2014/main" id="{07CD0C73-9EC5-4C9C-B6FD-6B5FC6C824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7" name="Gutter 5">
                <a:extLst>
                  <a:ext uri="{FF2B5EF4-FFF2-40B4-BE49-F238E27FC236}">
                    <a16:creationId xmlns:a16="http://schemas.microsoft.com/office/drawing/2014/main" id="{F87C9A8B-0E1E-4638-B68D-D9B1F60D9C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8" name="Gutter 4">
                <a:extLst>
                  <a:ext uri="{FF2B5EF4-FFF2-40B4-BE49-F238E27FC236}">
                    <a16:creationId xmlns:a16="http://schemas.microsoft.com/office/drawing/2014/main" id="{586AB6B2-9104-44AF-9E77-7DB080966D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9" name="Gutter 3">
                <a:extLst>
                  <a:ext uri="{FF2B5EF4-FFF2-40B4-BE49-F238E27FC236}">
                    <a16:creationId xmlns:a16="http://schemas.microsoft.com/office/drawing/2014/main" id="{AE78C42C-48D4-4690-ADA3-1BF4158018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50" name="Gutter 2">
                <a:extLst>
                  <a:ext uri="{FF2B5EF4-FFF2-40B4-BE49-F238E27FC236}">
                    <a16:creationId xmlns:a16="http://schemas.microsoft.com/office/drawing/2014/main" id="{635919C6-04CF-4815-8D63-2FC563C63F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51" name="Gutter 1">
                <a:extLst>
                  <a:ext uri="{FF2B5EF4-FFF2-40B4-BE49-F238E27FC236}">
                    <a16:creationId xmlns:a16="http://schemas.microsoft.com/office/drawing/2014/main" id="{E8CB18D2-574D-4FE4-BEDB-E0BC1F64A9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grpSp>
          <p:nvGrpSpPr>
            <p:cNvPr id="12" name="Baselines/Anchors">
              <a:extLst>
                <a:ext uri="{FF2B5EF4-FFF2-40B4-BE49-F238E27FC236}">
                  <a16:creationId xmlns:a16="http://schemas.microsoft.com/office/drawing/2014/main" id="{461ADE68-EA98-4605-8E1D-94C492A45EC0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21" name="Line 20">
                <a:extLst>
                  <a:ext uri="{FF2B5EF4-FFF2-40B4-BE49-F238E27FC236}">
                    <a16:creationId xmlns:a16="http://schemas.microsoft.com/office/drawing/2014/main" id="{6C9C69DA-EBFD-4906-8A89-B08574B4EF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Line 19">
                <a:extLst>
                  <a:ext uri="{FF2B5EF4-FFF2-40B4-BE49-F238E27FC236}">
                    <a16:creationId xmlns:a16="http://schemas.microsoft.com/office/drawing/2014/main" id="{1AD0AFDD-10B0-486D-BB8B-2DA69FB1D5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" name="Line 18">
                <a:extLst>
                  <a:ext uri="{FF2B5EF4-FFF2-40B4-BE49-F238E27FC236}">
                    <a16:creationId xmlns:a16="http://schemas.microsoft.com/office/drawing/2014/main" id="{7AFC034F-0B85-47F6-9014-97FFD987D10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Line 17">
                <a:extLst>
                  <a:ext uri="{FF2B5EF4-FFF2-40B4-BE49-F238E27FC236}">
                    <a16:creationId xmlns:a16="http://schemas.microsoft.com/office/drawing/2014/main" id="{A8FFE18C-72F2-44BD-A064-5D250E4EDE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5" name="Line 16">
                <a:extLst>
                  <a:ext uri="{FF2B5EF4-FFF2-40B4-BE49-F238E27FC236}">
                    <a16:creationId xmlns:a16="http://schemas.microsoft.com/office/drawing/2014/main" id="{17AE535B-8C4E-43DE-8601-037FC42B8B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Line 15">
                <a:extLst>
                  <a:ext uri="{FF2B5EF4-FFF2-40B4-BE49-F238E27FC236}">
                    <a16:creationId xmlns:a16="http://schemas.microsoft.com/office/drawing/2014/main" id="{4D68555B-88EE-4DE1-B2B9-9194E8F2C52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7" name="Line 14">
                <a:extLst>
                  <a:ext uri="{FF2B5EF4-FFF2-40B4-BE49-F238E27FC236}">
                    <a16:creationId xmlns:a16="http://schemas.microsoft.com/office/drawing/2014/main" id="{9DF37EA5-E380-4F88-BC6F-0394F3CE282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8" name="Line 13">
                <a:extLst>
                  <a:ext uri="{FF2B5EF4-FFF2-40B4-BE49-F238E27FC236}">
                    <a16:creationId xmlns:a16="http://schemas.microsoft.com/office/drawing/2014/main" id="{DF8A3CCC-98CC-4316-B04A-9FEE9E289D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9" name="Line 12">
                <a:extLst>
                  <a:ext uri="{FF2B5EF4-FFF2-40B4-BE49-F238E27FC236}">
                    <a16:creationId xmlns:a16="http://schemas.microsoft.com/office/drawing/2014/main" id="{9A25CBE2-2AB5-41A5-9A82-164E949DD6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0" name="Line 11">
                <a:extLst>
                  <a:ext uri="{FF2B5EF4-FFF2-40B4-BE49-F238E27FC236}">
                    <a16:creationId xmlns:a16="http://schemas.microsoft.com/office/drawing/2014/main" id="{72EFF72B-780E-43C3-BEC9-B03AC248F6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Line 10">
                <a:extLst>
                  <a:ext uri="{FF2B5EF4-FFF2-40B4-BE49-F238E27FC236}">
                    <a16:creationId xmlns:a16="http://schemas.microsoft.com/office/drawing/2014/main" id="{F21DFF4A-644F-41DA-9881-54F115FCE0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2" name="Line 9">
                <a:extLst>
                  <a:ext uri="{FF2B5EF4-FFF2-40B4-BE49-F238E27FC236}">
                    <a16:creationId xmlns:a16="http://schemas.microsoft.com/office/drawing/2014/main" id="{1FA02DB6-27B5-4909-9690-5F205AC12DD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" name="Line 8">
                <a:extLst>
                  <a:ext uri="{FF2B5EF4-FFF2-40B4-BE49-F238E27FC236}">
                    <a16:creationId xmlns:a16="http://schemas.microsoft.com/office/drawing/2014/main" id="{8847F7ED-3E5F-4858-8096-BAF8B18EF5B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4" name="Line 7">
                <a:extLst>
                  <a:ext uri="{FF2B5EF4-FFF2-40B4-BE49-F238E27FC236}">
                    <a16:creationId xmlns:a16="http://schemas.microsoft.com/office/drawing/2014/main" id="{959B6343-222B-48F5-BCFB-483FDF41A8D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Line 6">
                <a:extLst>
                  <a:ext uri="{FF2B5EF4-FFF2-40B4-BE49-F238E27FC236}">
                    <a16:creationId xmlns:a16="http://schemas.microsoft.com/office/drawing/2014/main" id="{3AC2FB88-6650-48B4-8976-54F4345F2B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Line 5">
                <a:extLst>
                  <a:ext uri="{FF2B5EF4-FFF2-40B4-BE49-F238E27FC236}">
                    <a16:creationId xmlns:a16="http://schemas.microsoft.com/office/drawing/2014/main" id="{9776F80F-E589-470E-BC86-AE02D12204A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7" name="Line 4">
                <a:extLst>
                  <a:ext uri="{FF2B5EF4-FFF2-40B4-BE49-F238E27FC236}">
                    <a16:creationId xmlns:a16="http://schemas.microsoft.com/office/drawing/2014/main" id="{59AB2342-F878-4745-A547-3ED850D9F61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Line 3">
                <a:extLst>
                  <a:ext uri="{FF2B5EF4-FFF2-40B4-BE49-F238E27FC236}">
                    <a16:creationId xmlns:a16="http://schemas.microsoft.com/office/drawing/2014/main" id="{9BB5D29C-6660-47C5-BA5C-512EE06B2D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" name="Line 2">
                <a:extLst>
                  <a:ext uri="{FF2B5EF4-FFF2-40B4-BE49-F238E27FC236}">
                    <a16:creationId xmlns:a16="http://schemas.microsoft.com/office/drawing/2014/main" id="{94B13E46-8BDD-455A-B582-9074BA9BFB2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" name="Line 1">
                <a:extLst>
                  <a:ext uri="{FF2B5EF4-FFF2-40B4-BE49-F238E27FC236}">
                    <a16:creationId xmlns:a16="http://schemas.microsoft.com/office/drawing/2014/main" id="{A171EF54-26BD-4106-BB5F-E9D0589112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3" name="Five column measure">
              <a:extLst>
                <a:ext uri="{FF2B5EF4-FFF2-40B4-BE49-F238E27FC236}">
                  <a16:creationId xmlns:a16="http://schemas.microsoft.com/office/drawing/2014/main" id="{522C3966-2D05-4512-9A3A-8A6E13BA4D28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6" name="Column 5">
                <a:extLst>
                  <a:ext uri="{FF2B5EF4-FFF2-40B4-BE49-F238E27FC236}">
                    <a16:creationId xmlns:a16="http://schemas.microsoft.com/office/drawing/2014/main" id="{9A61275B-78E9-4F13-A084-604E713CEB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7" name="Column 4">
                <a:extLst>
                  <a:ext uri="{FF2B5EF4-FFF2-40B4-BE49-F238E27FC236}">
                    <a16:creationId xmlns:a16="http://schemas.microsoft.com/office/drawing/2014/main" id="{790D3997-FF5E-4E4E-A2C7-F48BF6C48C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8" name="Column 3">
                <a:extLst>
                  <a:ext uri="{FF2B5EF4-FFF2-40B4-BE49-F238E27FC236}">
                    <a16:creationId xmlns:a16="http://schemas.microsoft.com/office/drawing/2014/main" id="{29E8F75E-9CD8-4B14-8134-30733276C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9" name="Column 2">
                <a:extLst>
                  <a:ext uri="{FF2B5EF4-FFF2-40B4-BE49-F238E27FC236}">
                    <a16:creationId xmlns:a16="http://schemas.microsoft.com/office/drawing/2014/main" id="{4291615C-FC68-40AA-95AB-856F43B77F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20" name="Column 1">
                <a:extLst>
                  <a:ext uri="{FF2B5EF4-FFF2-40B4-BE49-F238E27FC236}">
                    <a16:creationId xmlns:a16="http://schemas.microsoft.com/office/drawing/2014/main" id="{A6975FB9-6D4B-4DF7-A0AF-1267A06CAA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sp>
          <p:nvSpPr>
            <p:cNvPr id="14" name="Live space">
              <a:extLst>
                <a:ext uri="{FF2B5EF4-FFF2-40B4-BE49-F238E27FC236}">
                  <a16:creationId xmlns:a16="http://schemas.microsoft.com/office/drawing/2014/main" id="{168B9A11-05D6-4A74-AF82-2F1F2F4BCBF7}"/>
                </a:ext>
              </a:extLst>
            </p:cNvPr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rgbClr val="545454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475957AE-F4B5-439A-8DEE-BD4F6A952AF9}"/>
                </a:ext>
              </a:extLst>
            </p:cNvPr>
            <p:cNvSpPr txBox="1">
              <a:spLocks noChangeAspect="1"/>
            </p:cNvSpPr>
            <p:nvPr userDrawn="1"/>
          </p:nvSpPr>
          <p:spPr bwMode="auto">
            <a:xfrm>
              <a:off x="629444" y="6099175"/>
              <a:ext cx="7283748" cy="4619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lang="en-US" altLang="en-US" sz="1000">
                <a:solidFill>
                  <a:srgbClr val="A6A6A6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2" name="Date Placeholder 1">
            <a:extLst>
              <a:ext uri="{FF2B5EF4-FFF2-40B4-BE49-F238E27FC236}">
                <a16:creationId xmlns:a16="http://schemas.microsoft.com/office/drawing/2014/main" id="{F7A2F719-84E1-4FAC-BC66-AFAF0B0787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02AFE4A-DE81-46D9-A562-9DA940822CE0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4171035"/>
      </p:ext>
    </p:extLst>
  </p:cSld>
  <p:clrMapOvr>
    <a:masterClrMapping/>
  </p:clrMapOvr>
  <p:transition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nelWhite">
            <a:extLst>
              <a:ext uri="{FF2B5EF4-FFF2-40B4-BE49-F238E27FC236}">
                <a16:creationId xmlns:a16="http://schemas.microsoft.com/office/drawing/2014/main" id="{13A4F27B-FBD2-4125-9741-60A72B5F4607}"/>
              </a:ext>
            </a:extLst>
          </p:cNvPr>
          <p:cNvSpPr/>
          <p:nvPr userDrawn="1"/>
        </p:nvSpPr>
        <p:spPr>
          <a:xfrm>
            <a:off x="0" y="5278438"/>
            <a:ext cx="12192000" cy="157956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Shadow">
            <a:extLst>
              <a:ext uri="{FF2B5EF4-FFF2-40B4-BE49-F238E27FC236}">
                <a16:creationId xmlns:a16="http://schemas.microsoft.com/office/drawing/2014/main" id="{E3B5548E-AB6E-4EE7-83D3-548E06C6B8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" t="102" r="8742" b="1730"/>
          <a:stretch>
            <a:fillRect/>
          </a:stretch>
        </p:blipFill>
        <p:spPr bwMode="auto">
          <a:xfrm>
            <a:off x="3751263" y="5094288"/>
            <a:ext cx="8440737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:a16="http://schemas.microsoft.com/office/drawing/2014/main" id="{324E5988-7204-485F-91FE-B2FC238916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404" r="38" b="24950"/>
          <a:stretch>
            <a:fillRect/>
          </a:stretch>
        </p:blipFill>
        <p:spPr bwMode="auto">
          <a:xfrm>
            <a:off x="-17463" y="0"/>
            <a:ext cx="12218988" cy="52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>
            <a:extLst>
              <a:ext uri="{FF2B5EF4-FFF2-40B4-BE49-F238E27FC236}">
                <a16:creationId xmlns:a16="http://schemas.microsoft.com/office/drawing/2014/main" id="{2C10EBD4-8419-4ABA-AEBC-253F46BE502D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71525" y="1509713"/>
            <a:ext cx="7913688" cy="4646612"/>
          </a:xfrm>
          <a:prstGeom prst="rect">
            <a:avLst/>
          </a:prstGeom>
          <a:gradFill rotWithShape="0">
            <a:gsLst>
              <a:gs pos="0">
                <a:srgbClr val="071117"/>
              </a:gs>
              <a:gs pos="100000">
                <a:srgbClr val="295E7E">
                  <a:alpha val="89999"/>
                </a:srgbClr>
              </a:gs>
            </a:gsLst>
            <a:lin ang="8400000"/>
          </a:gra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1000"/>
              </a:spcAft>
              <a:defRPr/>
            </a:pPr>
            <a:endParaRPr lang="en-US" alt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2" descr="Image result for министерство труда казахстана logo">
            <a:extLst>
              <a:ext uri="{FF2B5EF4-FFF2-40B4-BE49-F238E27FC236}">
                <a16:creationId xmlns:a16="http://schemas.microsoft.com/office/drawing/2014/main" id="{9818AA7B-5F3D-4C21-AC99-0DC5114201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701800"/>
            <a:ext cx="901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4">
            <a:extLst>
              <a:ext uri="{FF2B5EF4-FFF2-40B4-BE49-F238E27FC236}">
                <a16:creationId xmlns:a16="http://schemas.microsoft.com/office/drawing/2014/main" id="{655512A0-A426-4031-8395-9A99146D5F4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Министерство труда и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Социальной защиты населения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Республики Казахстан</a:t>
            </a:r>
            <a:endParaRPr lang="en-US" altLang="en-US" sz="1400" b="1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4" name="Logo Placeholder"/>
          <p:cNvSpPr>
            <a:spLocks noGrp="1"/>
          </p:cNvSpPr>
          <p:nvPr>
            <p:ph type="pic" sz="quarter" idx="13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2" name="Title 1"/>
          <p:cNvSpPr>
            <a:spLocks noGrp="1"/>
          </p:cNvSpPr>
          <p:nvPr>
            <p:ph type="ctrTitle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2762262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2B24DBAF-542A-46D3-A66F-F758094BA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9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37570" name="Object 1" hidden="1">
                        <a:extLst>
                          <a:ext uri="{FF2B5EF4-FFF2-40B4-BE49-F238E27FC236}">
                            <a16:creationId xmlns:a16="http://schemas.microsoft.com/office/drawing/2014/main" id="{5483888F-1104-4376-8691-B63C9955042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CEE6197B-61E2-46EA-89ED-BA4BA653DD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0AE9BD3-6725-4C47-83A0-3328E47ECD7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CA34FBC4-21A0-4B47-91CB-DEA295396AA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56">
            <a:extLst>
              <a:ext uri="{FF2B5EF4-FFF2-40B4-BE49-F238E27FC236}">
                <a16:creationId xmlns:a16="http://schemas.microsoft.com/office/drawing/2014/main" id="{B3D463EB-7241-4044-9566-B03F4E0E71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DCDC2AB-E5B6-4909-9ED8-F671A088D2FC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687539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F9BE8B1F-6C24-488F-889C-926B92544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2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38594" name="Object 1" hidden="1">
                        <a:extLst>
                          <a:ext uri="{FF2B5EF4-FFF2-40B4-BE49-F238E27FC236}">
                            <a16:creationId xmlns:a16="http://schemas.microsoft.com/office/drawing/2014/main" id="{7505CA07-2163-44B5-8936-71889407F3B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age">
            <a:extLst>
              <a:ext uri="{FF2B5EF4-FFF2-40B4-BE49-F238E27FC236}">
                <a16:creationId xmlns:a16="http://schemas.microsoft.com/office/drawing/2014/main" id="{61C58601-A99E-46A3-BA10-F248B03630F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8875F4B-DD3F-4A53-8B92-956391093F6E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PanelGray">
            <a:extLst>
              <a:ext uri="{FF2B5EF4-FFF2-40B4-BE49-F238E27FC236}">
                <a16:creationId xmlns:a16="http://schemas.microsoft.com/office/drawing/2014/main" id="{3FD984B6-C276-430E-A0E3-BD960B871355}"/>
              </a:ext>
            </a:extLst>
          </p:cNvPr>
          <p:cNvSpPr/>
          <p:nvPr userDrawn="1"/>
        </p:nvSpPr>
        <p:spPr bwMode="white">
          <a:xfrm>
            <a:off x="0" y="-1588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766D7505-4644-400F-BADF-8B74E661A45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775385" y="2158989"/>
            <a:ext cx="3640123" cy="5416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/>
          </p:nvPr>
        </p:nvSpPr>
        <p:spPr>
          <a:xfrm>
            <a:off x="775385" y="1227050"/>
            <a:ext cx="3640123" cy="66479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31D9FDC-EDCD-4F8D-9F0A-D1A43C0038E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B785534-6A72-4412-BFD5-52720DF415ED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498425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60D993BB-4945-4F5F-83AC-A44F75F711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4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39618" name="Object 1" hidden="1">
                        <a:extLst>
                          <a:ext uri="{FF2B5EF4-FFF2-40B4-BE49-F238E27FC236}">
                            <a16:creationId xmlns:a16="http://schemas.microsoft.com/office/drawing/2014/main" id="{223901A3-205C-41AB-A469-9C8942DA08D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C130687E-FAB1-4D71-82A6-E4173B3F605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8E66C9B-0688-4464-BAAA-5181323CD81B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:a16="http://schemas.microsoft.com/office/drawing/2014/main" id="{34271019-BE34-47FB-960E-6F604C8B0F26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090613" y="1457325"/>
            <a:ext cx="1127125" cy="91916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157670C1-0F75-4914-A4C7-106B5E13713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3538" cy="3201026"/>
          </a:xfrm>
          <a:prstGeom prst="rect">
            <a:avLst/>
          </a:prstGeom>
          <a:ln w="9525">
            <a:noFill/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8">
            <a:extLst>
              <a:ext uri="{FF2B5EF4-FFF2-40B4-BE49-F238E27FC236}">
                <a16:creationId xmlns:a16="http://schemas.microsoft.com/office/drawing/2014/main" id="{185F7592-6F23-403B-9C01-D4FB3383C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45D8C16-F21D-46B5-8AA6-200482B250D0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97146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F8B66A4C-0DE2-48BF-AC3B-4E608DFDEED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613" y="3395663"/>
            <a:ext cx="15970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:a16="http://schemas.microsoft.com/office/drawing/2014/main" id="{387D6F76-F13B-458D-948E-1810A52E706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BEBC71A8-F6A9-42C2-BD0D-8496194737A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9A5411D-6D01-40BA-8BDF-2D69EDD5E64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8CE360F9-4DA8-49DE-A328-DF69D3EEB12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9C7551F4-6DD0-4329-913C-47B41015E7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0129459-F04E-4C59-AF0E-92E347F2A5C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010091"/>
      </p:ext>
    </p:extLst>
  </p:cSld>
  <p:clrMapOvr>
    <a:masterClrMapping/>
  </p:clrMapOvr>
  <p:transition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CB25AC68-D0F9-4EBF-B98D-1E89085024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6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40642" name="Object 1" hidden="1">
                        <a:extLst>
                          <a:ext uri="{FF2B5EF4-FFF2-40B4-BE49-F238E27FC236}">
                            <a16:creationId xmlns:a16="http://schemas.microsoft.com/office/drawing/2014/main" id="{EA10E375-9164-4B76-B0C4-E8CF7C2A70F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348B13DE-3B54-45C1-9D25-9CDB4C432FA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855E4EF-3A71-4994-8AB0-3E0FA9057BB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5" name="Line">
            <a:extLst>
              <a:ext uri="{FF2B5EF4-FFF2-40B4-BE49-F238E27FC236}">
                <a16:creationId xmlns:a16="http://schemas.microsoft.com/office/drawing/2014/main" id="{39BA8890-67A2-46AC-AA40-A35C1E90BCEF}"/>
              </a:ext>
            </a:extLst>
          </p:cNvPr>
          <p:cNvCxnSpPr/>
          <p:nvPr userDrawn="1"/>
        </p:nvCxnSpPr>
        <p:spPr bwMode="white">
          <a:xfrm>
            <a:off x="774700" y="3683000"/>
            <a:ext cx="1141888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8">
            <a:extLst>
              <a:ext uri="{FF2B5EF4-FFF2-40B4-BE49-F238E27FC236}">
                <a16:creationId xmlns:a16="http://schemas.microsoft.com/office/drawing/2014/main" id="{707310BE-FE4A-4DD9-BF94-F65476B50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35AC989-80C7-4F7E-A4D2-20A42C98FD28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562489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0E76495E-9B9B-4CBB-A523-1759C5FB777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5BFCD3DC-C3D6-44EA-8D4D-77288BA87552}"/>
              </a:ext>
            </a:extLst>
          </p:cNvPr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68AF84F4-644E-4902-AE6A-DD3DAF05994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B87B6A0-DEA8-44B5-817D-EFB0B7513410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B7C68EF9-B037-4F92-98C7-27E648376DE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B4CE598F-8AA9-4A3D-B53E-03052D1452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145AECF-A04C-44F8-9BD5-382BA1F41622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626629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11771FD3-5AEC-4220-83BA-DF86D6520E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:a16="http://schemas.microsoft.com/office/drawing/2014/main" id="{E954B9EC-113B-47F0-8F12-4FA1830F0CF1}"/>
              </a:ext>
            </a:extLst>
          </p:cNvPr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D350D7CB-CFA7-4E8F-9079-5215E8B058E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25C672E-A4D7-4990-B119-26F17F89CC63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245B7468-0443-4CBA-961D-5CDBF35C23F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84150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B9A4D820-585C-46FA-9A18-EBD6761BBC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1FB1236-5D06-4CED-BBB0-2C89AA2A77C1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504807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876C8553-D697-48BC-A104-0C12E02821E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397F012-6D84-4C64-B31F-F62642E24A1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Shadow">
            <a:extLst>
              <a:ext uri="{FF2B5EF4-FFF2-40B4-BE49-F238E27FC236}">
                <a16:creationId xmlns:a16="http://schemas.microsoft.com/office/drawing/2014/main" id="{3A9497B9-27BA-4DCA-AE9B-31098B3226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8961438" y="0"/>
            <a:ext cx="51276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:a16="http://schemas.microsoft.com/office/drawing/2014/main" id="{68CC1F4C-A331-4DA3-9FA8-B058B088B9AA}"/>
              </a:ext>
            </a:extLst>
          </p:cNvPr>
          <p:cNvSpPr/>
          <p:nvPr userDrawn="1"/>
        </p:nvSpPr>
        <p:spPr bwMode="white">
          <a:xfrm>
            <a:off x="0" y="0"/>
            <a:ext cx="89677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B21BEAC3-6EE8-4994-B4CD-6FAEDBDB700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790968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D86794F0-A40A-4F01-9AD8-28E53248D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E98E927-FA87-4EA0-825F-BE56D801AE5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201831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8009DAC5-C61F-485E-BD69-13B6641212D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:a16="http://schemas.microsoft.com/office/drawing/2014/main" id="{7BDF6745-EE99-4438-BCEE-7DFD93845775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ACD19DEE-AF85-4385-B48B-AF0B01FCA6E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B069D5A-D5AB-4A4F-A9E5-66E27064DC9E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B058FE88-F803-480D-9C0F-E3032150F3D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4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BDCD600A-2C4C-4D5B-9E23-DF9A7247DC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EEEB656-069F-447E-972A-2FB87D01F93E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780709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:a16="http://schemas.microsoft.com/office/drawing/2014/main" id="{E84937AA-FC2C-4817-910C-681562A2B1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:a16="http://schemas.microsoft.com/office/drawing/2014/main" id="{8E1018E6-CECD-48BE-ACD9-5E0A129BFEA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:a16="http://schemas.microsoft.com/office/drawing/2014/main" id="{D4418468-C4D8-4DB5-92A7-6F637FD696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794A8B2-1AB7-4CB6-B4D7-9F891CC2E8D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7D9A276E-A38B-4D15-A05C-CBA9C9E1DDA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4271262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309F8BA2-CD25-4B07-A024-7369C97F18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9965E81-2A36-4FBE-86A3-BD34A062D2F9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043630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:a16="http://schemas.microsoft.com/office/drawing/2014/main" id="{961DFFD7-469F-49B3-8F12-111E7D5064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:a16="http://schemas.microsoft.com/office/drawing/2014/main" id="{82D585BB-D3D3-4FF8-A80D-9B9979C97A29}"/>
              </a:ext>
            </a:extLst>
          </p:cNvPr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:a16="http://schemas.microsoft.com/office/drawing/2014/main" id="{906629C6-926C-49E3-8A77-1AEB792898C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CD14F64-9B41-47F2-846D-2AC0FACF508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230A948D-5102-4A12-ACB0-39CD7A659A8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 bwMode="black">
          <a:xfrm>
            <a:off x="775385" y="1785600"/>
            <a:ext cx="60878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8FD52A9A-31CB-44AF-B1CB-82DF8A3CDB1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316DC3B-F3BA-487B-9C17-E750FE74A28E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854062"/>
      </p:ext>
    </p:extLst>
  </p:cSld>
  <p:clrMapOvr>
    <a:masterClrMapping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56D77FC6-D752-4E65-B54B-EEDE850C385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:a16="http://schemas.microsoft.com/office/drawing/2014/main" id="{4805ACA6-ECA3-46D8-AD64-CE0D179093C9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C7F4130E-CE34-4EE3-9579-CDC900EBDCD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33B289E-22BF-42F5-A7BA-6B1084B35013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5B68711C-2BC0-4566-94D9-7A4FCA72DE4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CC6021FC-B855-43DC-9898-F76512AE04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D437D1B-DFEC-472F-835F-62658E79456A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789278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:a16="http://schemas.microsoft.com/office/drawing/2014/main" id="{F8246BEB-9435-49C5-B67E-EA4A6969EC1A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529EBE1D-0805-480C-9F84-C96481E5C50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2A168AF-FD92-430E-A78E-8FBEBBD40FE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37222F65-E7B2-46FC-921C-86E97F52BCC0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10">
            <a:extLst>
              <a:ext uri="{FF2B5EF4-FFF2-40B4-BE49-F238E27FC236}">
                <a16:creationId xmlns:a16="http://schemas.microsoft.com/office/drawing/2014/main" id="{B4B6B810-CE03-4BA4-B734-F558A29B25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EBE6BD0-DEDA-46C8-8F4D-B04B465278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AFFFA5F-84CD-4F07-B9F2-4FD124F61E0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391085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907F2296-362D-4F78-A746-98DC810F87B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613" y="3395663"/>
            <a:ext cx="15970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:a16="http://schemas.microsoft.com/office/drawing/2014/main" id="{68B47E35-8812-4046-B9E5-054A9A03546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0C2F53F9-E6E8-48A5-A28B-2DF742E93AD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F94BF4C-1A23-4113-A270-7C749913D5D8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069B6E45-A3FC-447D-A7E1-7178BF0E756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9DBC6F03-A158-4C29-A65D-93B2B04E97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EA05A46A-1C8E-414C-B0AF-15A9046BB318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51207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:a16="http://schemas.microsoft.com/office/drawing/2014/main" id="{AC262E79-8673-457D-9D38-2ABF0232552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7D32FFDA-67D2-4344-AF91-5E056689AA3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96E0956-61EF-4612-9C23-2C8189201626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4D68BD16-C65C-4AC5-B363-D7B76C5FDCB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80272F41-7DFC-4CD4-8F2F-6116F981D5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8BE3F911-F233-420C-A61A-7BF7468AAF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7DDF1F2-3523-47E9-A14A-AD2FA3106790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578772"/>
      </p:ext>
    </p:extLst>
  </p:cSld>
  <p:clrMapOvr>
    <a:masterClrMapping/>
  </p:clrMapOvr>
  <p:transition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:a16="http://schemas.microsoft.com/office/drawing/2014/main" id="{E7B3A1BD-654A-43F6-8E4A-1FF830A3118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5B5AF5DA-1B9E-492C-B8F5-E927C891460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2563786-6301-4C05-89EB-8CAB10F45FEB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B58C55A3-D613-4C54-8E55-0AA096D82A5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738FC45B-B11E-4F6C-87DB-51D27ECF8E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5D71E7D6-7AF2-4F73-BBC6-11E536A49A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24BC48A-12DC-479D-B6F6-3C09ABBB14DC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819701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64EF1C35-2C10-49C8-BAF1-3FB843E3E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51906" name="Object 1" hidden="1">
                        <a:extLst>
                          <a:ext uri="{FF2B5EF4-FFF2-40B4-BE49-F238E27FC236}">
                            <a16:creationId xmlns:a16="http://schemas.microsoft.com/office/drawing/2014/main" id="{D3FC013F-7265-4A6F-8DAD-ABFDEC534EA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Shadow">
            <a:extLst>
              <a:ext uri="{FF2B5EF4-FFF2-40B4-BE49-F238E27FC236}">
                <a16:creationId xmlns:a16="http://schemas.microsoft.com/office/drawing/2014/main" id="{1EE495CB-8BF9-48C4-AFA7-564C0DE78D7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350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rrowPanelWhite">
            <a:extLst>
              <a:ext uri="{FF2B5EF4-FFF2-40B4-BE49-F238E27FC236}">
                <a16:creationId xmlns:a16="http://schemas.microsoft.com/office/drawing/2014/main" id="{306D7973-E513-4D2B-B5CB-36FFE667C781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>
            <a:extLst>
              <a:ext uri="{FF2B5EF4-FFF2-40B4-BE49-F238E27FC236}">
                <a16:creationId xmlns:a16="http://schemas.microsoft.com/office/drawing/2014/main" id="{9FDBEADB-7E0F-48D6-B330-7D88ED9DE66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8B78555-20AD-43A3-BCFB-83DD4714AEEE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FooterSimple" hidden="1">
            <a:extLst>
              <a:ext uri="{FF2B5EF4-FFF2-40B4-BE49-F238E27FC236}">
                <a16:creationId xmlns:a16="http://schemas.microsoft.com/office/drawing/2014/main" id="{469AAF24-E1FA-4D36-BC32-33EFD06B28A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F0FF8015-FA11-45B8-BE59-0D0400DEA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CBDB7E5-C064-46F2-B8F5-D03EC46D0FC4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677958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PanelWhite">
            <a:extLst>
              <a:ext uri="{FF2B5EF4-FFF2-40B4-BE49-F238E27FC236}">
                <a16:creationId xmlns:a16="http://schemas.microsoft.com/office/drawing/2014/main" id="{36239596-7FEF-404D-95FF-2A6F278A5527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34496225-2C62-47EF-BE4E-FD0FFCC51C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D789D72-4857-4653-8BCD-A74067CC08E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3C14EFCB-8BFD-45C1-858E-845CE062F2E0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10">
            <a:extLst>
              <a:ext uri="{FF2B5EF4-FFF2-40B4-BE49-F238E27FC236}">
                <a16:creationId xmlns:a16="http://schemas.microsoft.com/office/drawing/2014/main" id="{99E93DFA-F1A9-4619-9B83-200E657D2A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FFA0BB95-102D-4F3B-93A7-61AAC03702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C71F6B7-23AC-43C6-8FCC-657AF28268C9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546600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10EB22CF-57C3-4DD4-91B8-D3B0FB33F9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138" y="3594100"/>
            <a:ext cx="1679575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:a16="http://schemas.microsoft.com/office/drawing/2014/main" id="{DF62081B-88B8-4A0D-B289-9077386CF24F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C05E41AD-AA23-4355-852F-7EF2B24040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81FA6A7-2E38-49C5-BF20-BD6CF2F95E5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52DE6706-6627-4A3D-94D6-08492F2DC62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59C58543-A780-473D-80D9-18733B65B8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39EF632-555A-4937-93FD-131EF3ADFB26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669739"/>
      </p:ext>
    </p:extLst>
  </p:cSld>
  <p:clrMapOvr>
    <a:masterClrMapping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:a16="http://schemas.microsoft.com/office/drawing/2014/main" id="{5EEF873F-7324-4A4F-9566-4EB84BBFD3BA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8D4F287B-635E-4DC5-866B-5F8346D1AEF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06DE5D4-75E5-47A3-9246-02092FC2867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3A20760F-9E22-4125-8535-4DCC4323EE76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7">
            <a:extLst>
              <a:ext uri="{FF2B5EF4-FFF2-40B4-BE49-F238E27FC236}">
                <a16:creationId xmlns:a16="http://schemas.microsoft.com/office/drawing/2014/main" id="{9BCD2C27-614C-44B8-81B4-416856F7B2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216CBE1-BCC5-4AA5-84BA-0ED2AE152D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FD23437-AD02-4684-B9CB-1561C2AB2B50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799654"/>
      </p:ext>
    </p:extLst>
  </p:cSld>
  <p:clrMapOvr>
    <a:masterClrMapping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F19142E2-26B5-41AF-A900-CBE4E0CE2CA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17D4331-3765-4958-88D6-7DCA7D5EAA13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D9CAF76E-6ED7-49F0-8AAB-6BFE24F427D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5A6557-10B5-4E1E-AE7D-E11C1C58C2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5C2C046-8172-4ED9-9F93-93CE7B756E44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541077"/>
      </p:ext>
    </p:extLst>
  </p:cSld>
  <p:clrMapOvr>
    <a:masterClrMapping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896399D9-EB95-43A5-A141-4A14B32E2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1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57026" name="Object 1" hidden="1">
                        <a:extLst>
                          <a:ext uri="{FF2B5EF4-FFF2-40B4-BE49-F238E27FC236}">
                            <a16:creationId xmlns:a16="http://schemas.microsoft.com/office/drawing/2014/main" id="{8081EE9A-6661-417C-BAC5-E5ABB11CEBE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0CE028C6-9316-4334-AD40-559748161B2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23ECCBE-37C9-4944-AD4A-71C470AEF8F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:a16="http://schemas.microsoft.com/office/drawing/2014/main" id="{3FF51C59-C383-4ADE-89D8-C910A8630DB5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774700" y="622300"/>
            <a:ext cx="1130300" cy="919163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621DB2BA-04ED-4425-9383-EA7A877C3BD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B507D0A-C873-4FC6-87DC-F884ED6963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26ED1A0-4020-4755-A029-D45F9CFC4CE2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349721"/>
      </p:ext>
    </p:extLst>
  </p:cSld>
  <p:clrMapOvr>
    <a:masterClrMapping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:a16="http://schemas.microsoft.com/office/drawing/2014/main" id="{C9B63E12-DF19-4696-99CA-E39C039631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age">
            <a:extLst>
              <a:ext uri="{FF2B5EF4-FFF2-40B4-BE49-F238E27FC236}">
                <a16:creationId xmlns:a16="http://schemas.microsoft.com/office/drawing/2014/main" id="{1F2BD589-E750-420F-8B6C-2F46D31B9DE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1E7197A-31FE-476F-B655-C11774705EE3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" name="Bubble">
            <a:extLst>
              <a:ext uri="{FF2B5EF4-FFF2-40B4-BE49-F238E27FC236}">
                <a16:creationId xmlns:a16="http://schemas.microsoft.com/office/drawing/2014/main" id="{8A62301F-64D5-4656-909F-7868EBB685E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5" name="Rectangle 9">
              <a:extLst>
                <a:ext uri="{FF2B5EF4-FFF2-40B4-BE49-F238E27FC236}">
                  <a16:creationId xmlns:a16="http://schemas.microsoft.com/office/drawing/2014/main" id="{54187FFE-852B-42D5-B5B3-0E5E503645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6" name="Right Triangle 10">
              <a:extLst>
                <a:ext uri="{FF2B5EF4-FFF2-40B4-BE49-F238E27FC236}">
                  <a16:creationId xmlns:a16="http://schemas.microsoft.com/office/drawing/2014/main" id="{FE432931-EB94-440D-ABC1-C8DBEBEEB18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51B9E0F1-2B6B-46E2-BC17-B75767A17B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497213A-9B77-4B66-BF9B-533CD35CD701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860178"/>
      </p:ext>
    </p:extLst>
  </p:cSld>
  <p:clrMapOvr>
    <a:masterClrMapping/>
  </p:clrMapOvr>
  <p:transition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5C248CF0-6391-422A-83D1-AE4182DC3BCA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A0830BA-0015-4FD1-8296-74301310C9D2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34DD893C-98AF-4371-8E69-4B03675C7ED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2">
            <a:extLst>
              <a:ext uri="{FF2B5EF4-FFF2-40B4-BE49-F238E27FC236}">
                <a16:creationId xmlns:a16="http://schemas.microsoft.com/office/drawing/2014/main" id="{EA08D734-A980-4D3C-BE8C-504BADED72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A4797F1-7099-4872-B124-B5C3EA0F865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753678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:a16="http://schemas.microsoft.com/office/drawing/2014/main" id="{6F728652-4A7D-490F-A5B5-03020EA4B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ArrowPanelWhite">
            <a:extLst>
              <a:ext uri="{FF2B5EF4-FFF2-40B4-BE49-F238E27FC236}">
                <a16:creationId xmlns:a16="http://schemas.microsoft.com/office/drawing/2014/main" id="{8FD291DB-AAB3-4FAE-9916-7EF1A08E64FF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6A65C2C6-048A-4177-B05E-F2AAD35B0D8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FC0949F-AB6A-4F4E-93BB-709AF3EEA29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extBox 12">
            <a:extLst>
              <a:ext uri="{FF2B5EF4-FFF2-40B4-BE49-F238E27FC236}">
                <a16:creationId xmlns:a16="http://schemas.microsoft.com/office/drawing/2014/main" id="{8783D4D0-0106-46EB-892C-23670B1BBA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2000" y="2711450"/>
            <a:ext cx="2738438" cy="1435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ts val="700"/>
              </a:spcAft>
              <a:defRPr/>
            </a:pPr>
            <a:r>
              <a:rPr lang="en-US" altLang="en-US" sz="4400">
                <a:solidFill>
                  <a:srgbClr val="295E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97925C19-A688-4550-A111-13AA22972CB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4E70EBBE-FF55-444B-9216-B7BED7B6CA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B0BBC5B-1881-440F-9FFF-CA2708D4806D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00373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4E4FAA05-2AC7-4A2A-B6A0-00270DD64F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350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:a16="http://schemas.microsoft.com/office/drawing/2014/main" id="{C11C9259-D0D2-49EF-BF15-877801BC9352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B11059DE-810A-4B75-9401-851CBF7DE9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6647BDC-B671-4363-8C38-A4107AF9218A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F26FD186-36C9-4D61-9A02-5C9FFE0F029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681B74EE-D70B-459A-9888-ED9F5FAC8E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C52E365-2595-4E99-9A08-DFB8A35F5F15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784902"/>
      </p:ext>
    </p:extLst>
  </p:cSld>
  <p:clrMapOvr>
    <a:masterClrMapping/>
  </p:clrMapOvr>
  <p:transition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>
            <a:extLst>
              <a:ext uri="{FF2B5EF4-FFF2-40B4-BE49-F238E27FC236}">
                <a16:creationId xmlns:a16="http://schemas.microsoft.com/office/drawing/2014/main" id="{B860FAA4-AC2E-46A1-B43E-0688E7D23E4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4665710-3B8C-479B-A96B-20E42A21B924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FooterSimple" hidden="1">
            <a:extLst>
              <a:ext uri="{FF2B5EF4-FFF2-40B4-BE49-F238E27FC236}">
                <a16:creationId xmlns:a16="http://schemas.microsoft.com/office/drawing/2014/main" id="{8A96B3F7-5D16-43C6-AA56-2620A1BA000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Date Placeholder 4">
            <a:extLst>
              <a:ext uri="{FF2B5EF4-FFF2-40B4-BE49-F238E27FC236}">
                <a16:creationId xmlns:a16="http://schemas.microsoft.com/office/drawing/2014/main" id="{DA7F23F6-A9E2-49E5-98BB-13F23CB643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B46CAC9-A36B-488F-B693-BC980564B14C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018821"/>
      </p:ext>
    </p:extLst>
  </p:cSld>
  <p:clrMapOvr>
    <a:masterClrMapping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BC319EF-1DED-4DE4-A059-75347FF2A9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4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62146" name="Object 1" hidden="1">
                        <a:extLst>
                          <a:ext uri="{FF2B5EF4-FFF2-40B4-BE49-F238E27FC236}">
                            <a16:creationId xmlns:a16="http://schemas.microsoft.com/office/drawing/2014/main" id="{AB2C3DCF-F558-4323-B4C1-B7ED1AC2F2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3653EE22-A22C-4B7D-BC67-5487552880F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9535BA2-5767-422A-B006-EFECB34B9A1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DDD3AAD3-6BBD-4681-9EBF-4F2BD975200B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Date Placeholder 6">
            <a:extLst>
              <a:ext uri="{FF2B5EF4-FFF2-40B4-BE49-F238E27FC236}">
                <a16:creationId xmlns:a16="http://schemas.microsoft.com/office/drawing/2014/main" id="{DE4ED44B-BCB7-4AED-A466-0ECC0674D1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7D59FB5-3013-4535-A336-A2C735A3CF48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265051"/>
      </p:ext>
    </p:extLst>
  </p:cSld>
  <p:clrMapOvr>
    <a:masterClrMapping/>
  </p:clrMapOvr>
  <p:transition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E37FA30-9E58-418E-B2C9-59F97663C7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6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63170" name="Object 1" hidden="1">
                        <a:extLst>
                          <a:ext uri="{FF2B5EF4-FFF2-40B4-BE49-F238E27FC236}">
                            <a16:creationId xmlns:a16="http://schemas.microsoft.com/office/drawing/2014/main" id="{F92FCF29-0BFE-4CBE-91A1-16BE00C017D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4AD822D7-E536-4D16-A3AF-4F91B04B74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9CF9F3D-FECD-4883-A2F6-687D9AC968F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B85A6E25-0656-4222-9655-312BC0FA5532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022571"/>
      </p:ext>
    </p:extLst>
  </p:cSld>
  <p:clrMapOvr>
    <a:masterClrMapping/>
  </p:clrMapOvr>
  <p:transition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2264698"/>
      </p:ext>
    </p:extLst>
  </p:cSld>
  <p:clrMapOvr>
    <a:masterClrMapping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53F02E1-1265-44BD-9F18-CA344B854B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8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65218" name="Object 1" hidden="1">
                        <a:extLst>
                          <a:ext uri="{FF2B5EF4-FFF2-40B4-BE49-F238E27FC236}">
                            <a16:creationId xmlns:a16="http://schemas.microsoft.com/office/drawing/2014/main" id="{BA124389-1D88-4AEC-AD72-0F87029DC85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B2BF94C9-7011-4355-BA6E-0740660ECC7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AFAC814-4691-4DA5-B1D4-15B3DF435F7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" name="A4Grid">
            <a:extLst>
              <a:ext uri="{FF2B5EF4-FFF2-40B4-BE49-F238E27FC236}">
                <a16:creationId xmlns:a16="http://schemas.microsoft.com/office/drawing/2014/main" id="{66CC4E93-99F1-4CA5-9FAB-9C7E7A3D11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5" name="Slide edges">
              <a:extLst>
                <a:ext uri="{FF2B5EF4-FFF2-40B4-BE49-F238E27FC236}">
                  <a16:creationId xmlns:a16="http://schemas.microsoft.com/office/drawing/2014/main" id="{0A5BDD3F-214D-4FBA-BEBE-C2FC8FF7E0D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6" name="No-fly zone">
              <a:extLst>
                <a:ext uri="{FF2B5EF4-FFF2-40B4-BE49-F238E27FC236}">
                  <a16:creationId xmlns:a16="http://schemas.microsoft.com/office/drawing/2014/main" id="{7558184A-7568-46AD-929A-1826A66BB0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29400 w 9906000"/>
                <a:gd name="T1" fmla="*/ 622800 h 6858000"/>
                <a:gd name="T2" fmla="*/ 629400 w 9906000"/>
                <a:gd name="T3" fmla="*/ 6156000 h 6858000"/>
                <a:gd name="T4" fmla="*/ 9276600 w 9906000"/>
                <a:gd name="T5" fmla="*/ 6156000 h 6858000"/>
                <a:gd name="T6" fmla="*/ 9276600 w 9906000"/>
                <a:gd name="T7" fmla="*/ 622800 h 6858000"/>
                <a:gd name="T8" fmla="*/ 0 w 9906000"/>
                <a:gd name="T9" fmla="*/ 0 h 6858000"/>
                <a:gd name="T10" fmla="*/ 629400 w 9906000"/>
                <a:gd name="T11" fmla="*/ 0 h 6858000"/>
                <a:gd name="T12" fmla="*/ 629400 w 9906000"/>
                <a:gd name="T13" fmla="*/ 0 h 6858000"/>
                <a:gd name="T14" fmla="*/ 9276600 w 9906000"/>
                <a:gd name="T15" fmla="*/ 0 h 6858000"/>
                <a:gd name="T16" fmla="*/ 9906000 w 9906000"/>
                <a:gd name="T17" fmla="*/ 0 h 6858000"/>
                <a:gd name="T18" fmla="*/ 9906000 w 9906000"/>
                <a:gd name="T19" fmla="*/ 622800 h 6858000"/>
                <a:gd name="T20" fmla="*/ 9906000 w 9906000"/>
                <a:gd name="T21" fmla="*/ 6156000 h 6858000"/>
                <a:gd name="T22" fmla="*/ 9906000 w 9906000"/>
                <a:gd name="T23" fmla="*/ 6858000 h 6858000"/>
                <a:gd name="T24" fmla="*/ 9276600 w 9906000"/>
                <a:gd name="T25" fmla="*/ 6858000 h 6858000"/>
                <a:gd name="T26" fmla="*/ 629400 w 9906000"/>
                <a:gd name="T27" fmla="*/ 6858000 h 6858000"/>
                <a:gd name="T28" fmla="*/ 0 w 9906000"/>
                <a:gd name="T29" fmla="*/ 6858000 h 6858000"/>
                <a:gd name="T30" fmla="*/ 0 w 9906000"/>
                <a:gd name="T31" fmla="*/ 6858000 h 6858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lnTo>
                    <a:pt x="6294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" name="Footnote measure">
              <a:extLst>
                <a:ext uri="{FF2B5EF4-FFF2-40B4-BE49-F238E27FC236}">
                  <a16:creationId xmlns:a16="http://schemas.microsoft.com/office/drawing/2014/main" id="{30DC89C6-D2EA-4D26-85ED-B6B7CFB4F3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8" name="Whitespace measure">
              <a:extLst>
                <a:ext uri="{FF2B5EF4-FFF2-40B4-BE49-F238E27FC236}">
                  <a16:creationId xmlns:a16="http://schemas.microsoft.com/office/drawing/2014/main" id="{D24ED774-D6DB-41C6-B1B0-127F6B62DE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545454"/>
                </a:solidFill>
                <a:latin typeface="Trebuchet MS"/>
              </a:endParaRPr>
            </a:p>
          </p:txBody>
        </p:sp>
        <p:grpSp>
          <p:nvGrpSpPr>
            <p:cNvPr id="9" name="Gutter space">
              <a:extLst>
                <a:ext uri="{FF2B5EF4-FFF2-40B4-BE49-F238E27FC236}">
                  <a16:creationId xmlns:a16="http://schemas.microsoft.com/office/drawing/2014/main" id="{02A120CC-09A5-4C84-AE35-E4E5904768B8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39" name="Gutter 11">
                <a:extLst>
                  <a:ext uri="{FF2B5EF4-FFF2-40B4-BE49-F238E27FC236}">
                    <a16:creationId xmlns:a16="http://schemas.microsoft.com/office/drawing/2014/main" id="{45105C15-6934-45F8-995A-7754AD8D9C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0" name="Gutter 10">
                <a:extLst>
                  <a:ext uri="{FF2B5EF4-FFF2-40B4-BE49-F238E27FC236}">
                    <a16:creationId xmlns:a16="http://schemas.microsoft.com/office/drawing/2014/main" id="{1FB667D4-D267-4948-9CFF-7506203BCE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1" name="Gutter 9">
                <a:extLst>
                  <a:ext uri="{FF2B5EF4-FFF2-40B4-BE49-F238E27FC236}">
                    <a16:creationId xmlns:a16="http://schemas.microsoft.com/office/drawing/2014/main" id="{50E86792-EC68-4E24-A722-CDE3067E01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2" name="Gutter 8">
                <a:extLst>
                  <a:ext uri="{FF2B5EF4-FFF2-40B4-BE49-F238E27FC236}">
                    <a16:creationId xmlns:a16="http://schemas.microsoft.com/office/drawing/2014/main" id="{9F23CB9C-4AC7-4EC6-97AE-7D58D8131E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3" name="Gutter 7">
                <a:extLst>
                  <a:ext uri="{FF2B5EF4-FFF2-40B4-BE49-F238E27FC236}">
                    <a16:creationId xmlns:a16="http://schemas.microsoft.com/office/drawing/2014/main" id="{2BABDDC7-5ED9-4602-97F1-39FC76F544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4" name="Gutter 6">
                <a:extLst>
                  <a:ext uri="{FF2B5EF4-FFF2-40B4-BE49-F238E27FC236}">
                    <a16:creationId xmlns:a16="http://schemas.microsoft.com/office/drawing/2014/main" id="{38D56FDC-4B22-4B05-8C32-46378FA3F2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5" name="Gutter 5">
                <a:extLst>
                  <a:ext uri="{FF2B5EF4-FFF2-40B4-BE49-F238E27FC236}">
                    <a16:creationId xmlns:a16="http://schemas.microsoft.com/office/drawing/2014/main" id="{B30BB0BF-D396-468B-966C-9F23528216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6" name="Gutter 4">
                <a:extLst>
                  <a:ext uri="{FF2B5EF4-FFF2-40B4-BE49-F238E27FC236}">
                    <a16:creationId xmlns:a16="http://schemas.microsoft.com/office/drawing/2014/main" id="{2D042640-EB65-4247-9C56-92775FD9CE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7" name="Gutter 3">
                <a:extLst>
                  <a:ext uri="{FF2B5EF4-FFF2-40B4-BE49-F238E27FC236}">
                    <a16:creationId xmlns:a16="http://schemas.microsoft.com/office/drawing/2014/main" id="{54CD7646-C384-4D73-B414-82A3F149F8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8" name="Gutter 2">
                <a:extLst>
                  <a:ext uri="{FF2B5EF4-FFF2-40B4-BE49-F238E27FC236}">
                    <a16:creationId xmlns:a16="http://schemas.microsoft.com/office/drawing/2014/main" id="{E278D483-0082-4BA6-A0E7-24793ED0CB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9" name="Gutter 1">
                <a:extLst>
                  <a:ext uri="{FF2B5EF4-FFF2-40B4-BE49-F238E27FC236}">
                    <a16:creationId xmlns:a16="http://schemas.microsoft.com/office/drawing/2014/main" id="{7EA98E06-6D79-4D70-AB98-F2AE41E9B0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grpSp>
          <p:nvGrpSpPr>
            <p:cNvPr id="10" name="Baselines/Anchors">
              <a:extLst>
                <a:ext uri="{FF2B5EF4-FFF2-40B4-BE49-F238E27FC236}">
                  <a16:creationId xmlns:a16="http://schemas.microsoft.com/office/drawing/2014/main" id="{B5A3B2C2-501B-487F-B55C-61C96C4C1EB8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19" name="Line 20">
                <a:extLst>
                  <a:ext uri="{FF2B5EF4-FFF2-40B4-BE49-F238E27FC236}">
                    <a16:creationId xmlns:a16="http://schemas.microsoft.com/office/drawing/2014/main" id="{90A2B9D4-DBAF-4AD2-AE24-22532BFC8D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0" name="Line 19">
                <a:extLst>
                  <a:ext uri="{FF2B5EF4-FFF2-40B4-BE49-F238E27FC236}">
                    <a16:creationId xmlns:a16="http://schemas.microsoft.com/office/drawing/2014/main" id="{090A37CD-3D64-40A5-A1CD-70869B713E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1" name="Line 18">
                <a:extLst>
                  <a:ext uri="{FF2B5EF4-FFF2-40B4-BE49-F238E27FC236}">
                    <a16:creationId xmlns:a16="http://schemas.microsoft.com/office/drawing/2014/main" id="{502E8F5C-F5DD-491C-B15C-BF7CC5AEB8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Line 17">
                <a:extLst>
                  <a:ext uri="{FF2B5EF4-FFF2-40B4-BE49-F238E27FC236}">
                    <a16:creationId xmlns:a16="http://schemas.microsoft.com/office/drawing/2014/main" id="{E2410704-22F0-4100-928E-D17A256C78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" name="Line 16">
                <a:extLst>
                  <a:ext uri="{FF2B5EF4-FFF2-40B4-BE49-F238E27FC236}">
                    <a16:creationId xmlns:a16="http://schemas.microsoft.com/office/drawing/2014/main" id="{105C4CFB-8B07-4897-97C6-306EC36510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Line 15">
                <a:extLst>
                  <a:ext uri="{FF2B5EF4-FFF2-40B4-BE49-F238E27FC236}">
                    <a16:creationId xmlns:a16="http://schemas.microsoft.com/office/drawing/2014/main" id="{D42B7E6F-90C6-4579-98C8-32B7F0B5B12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5" name="Line 14">
                <a:extLst>
                  <a:ext uri="{FF2B5EF4-FFF2-40B4-BE49-F238E27FC236}">
                    <a16:creationId xmlns:a16="http://schemas.microsoft.com/office/drawing/2014/main" id="{BB799CA8-8AEC-4550-A4A6-86AEC79EB0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Line 13">
                <a:extLst>
                  <a:ext uri="{FF2B5EF4-FFF2-40B4-BE49-F238E27FC236}">
                    <a16:creationId xmlns:a16="http://schemas.microsoft.com/office/drawing/2014/main" id="{814B9E1F-6D2E-43F8-AE95-8CD0CE0AFD8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7" name="Line 12">
                <a:extLst>
                  <a:ext uri="{FF2B5EF4-FFF2-40B4-BE49-F238E27FC236}">
                    <a16:creationId xmlns:a16="http://schemas.microsoft.com/office/drawing/2014/main" id="{CE4485F9-3A05-4188-B521-774604FF7C4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8" name="Line 11">
                <a:extLst>
                  <a:ext uri="{FF2B5EF4-FFF2-40B4-BE49-F238E27FC236}">
                    <a16:creationId xmlns:a16="http://schemas.microsoft.com/office/drawing/2014/main" id="{9454AA29-3582-4BF5-80A7-6483DB0FB2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9" name="Line 10">
                <a:extLst>
                  <a:ext uri="{FF2B5EF4-FFF2-40B4-BE49-F238E27FC236}">
                    <a16:creationId xmlns:a16="http://schemas.microsoft.com/office/drawing/2014/main" id="{9585F4C3-AC65-4516-8AFB-0C441290BB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0" name="Line 9">
                <a:extLst>
                  <a:ext uri="{FF2B5EF4-FFF2-40B4-BE49-F238E27FC236}">
                    <a16:creationId xmlns:a16="http://schemas.microsoft.com/office/drawing/2014/main" id="{B472C985-BE7D-4EF6-A659-620A4F083BC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Line 8">
                <a:extLst>
                  <a:ext uri="{FF2B5EF4-FFF2-40B4-BE49-F238E27FC236}">
                    <a16:creationId xmlns:a16="http://schemas.microsoft.com/office/drawing/2014/main" id="{33FE3D9E-3EB0-4211-B926-BD2EEA5C4D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2" name="Line 7">
                <a:extLst>
                  <a:ext uri="{FF2B5EF4-FFF2-40B4-BE49-F238E27FC236}">
                    <a16:creationId xmlns:a16="http://schemas.microsoft.com/office/drawing/2014/main" id="{E1F14F61-E325-42D2-AD8C-2DE6C23049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" name="Line 6">
                <a:extLst>
                  <a:ext uri="{FF2B5EF4-FFF2-40B4-BE49-F238E27FC236}">
                    <a16:creationId xmlns:a16="http://schemas.microsoft.com/office/drawing/2014/main" id="{DE9F8A4C-2036-46A2-A5B4-6A63466248E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4" name="Line 5">
                <a:extLst>
                  <a:ext uri="{FF2B5EF4-FFF2-40B4-BE49-F238E27FC236}">
                    <a16:creationId xmlns:a16="http://schemas.microsoft.com/office/drawing/2014/main" id="{AA3D7E59-95FB-44BE-AE73-3FD5DA2777B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Line 4">
                <a:extLst>
                  <a:ext uri="{FF2B5EF4-FFF2-40B4-BE49-F238E27FC236}">
                    <a16:creationId xmlns:a16="http://schemas.microsoft.com/office/drawing/2014/main" id="{8E40BEE3-1476-4071-9A2C-01DC9E32FF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Line 3">
                <a:extLst>
                  <a:ext uri="{FF2B5EF4-FFF2-40B4-BE49-F238E27FC236}">
                    <a16:creationId xmlns:a16="http://schemas.microsoft.com/office/drawing/2014/main" id="{92F6AEE8-00CA-4DAF-ADDB-1F6999E8A78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7" name="Line 2">
                <a:extLst>
                  <a:ext uri="{FF2B5EF4-FFF2-40B4-BE49-F238E27FC236}">
                    <a16:creationId xmlns:a16="http://schemas.microsoft.com/office/drawing/2014/main" id="{9ADBFC5B-B9E9-4FAB-8F68-C190638CB0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Line 1">
                <a:extLst>
                  <a:ext uri="{FF2B5EF4-FFF2-40B4-BE49-F238E27FC236}">
                    <a16:creationId xmlns:a16="http://schemas.microsoft.com/office/drawing/2014/main" id="{19E37BFE-1BC4-47B5-8D1A-CF2203C191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AA5CD37D-DDA3-4683-A382-5A420B78C799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4" name="Column 5">
                <a:extLst>
                  <a:ext uri="{FF2B5EF4-FFF2-40B4-BE49-F238E27FC236}">
                    <a16:creationId xmlns:a16="http://schemas.microsoft.com/office/drawing/2014/main" id="{0A1743D9-2F7A-4922-9A19-7FCD47B833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5" name="Column 4">
                <a:extLst>
                  <a:ext uri="{FF2B5EF4-FFF2-40B4-BE49-F238E27FC236}">
                    <a16:creationId xmlns:a16="http://schemas.microsoft.com/office/drawing/2014/main" id="{3D5FBD8A-666B-4036-AA26-F3B89EE1A8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6" name="Column 3">
                <a:extLst>
                  <a:ext uri="{FF2B5EF4-FFF2-40B4-BE49-F238E27FC236}">
                    <a16:creationId xmlns:a16="http://schemas.microsoft.com/office/drawing/2014/main" id="{007F9821-EC9E-4FDB-94F0-926B96A897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7" name="Column 2">
                <a:extLst>
                  <a:ext uri="{FF2B5EF4-FFF2-40B4-BE49-F238E27FC236}">
                    <a16:creationId xmlns:a16="http://schemas.microsoft.com/office/drawing/2014/main" id="{81B0E6C7-46A2-451B-936B-CC897CE0C3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8" name="Column 1">
                <a:extLst>
                  <a:ext uri="{FF2B5EF4-FFF2-40B4-BE49-F238E27FC236}">
                    <a16:creationId xmlns:a16="http://schemas.microsoft.com/office/drawing/2014/main" id="{75C1E7E8-6BAA-47DC-8448-EEDDBB6D78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sp>
          <p:nvSpPr>
            <p:cNvPr id="12" name="Live space">
              <a:extLst>
                <a:ext uri="{FF2B5EF4-FFF2-40B4-BE49-F238E27FC236}">
                  <a16:creationId xmlns:a16="http://schemas.microsoft.com/office/drawing/2014/main" id="{F5A71D94-0F8F-4C28-B154-108A6475DD26}"/>
                </a:ext>
              </a:extLst>
            </p:cNvPr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rgbClr val="545454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:a16="http://schemas.microsoft.com/office/drawing/2014/main" id="{2CCAA811-4D6B-47F1-8061-5626884B69B4}"/>
                </a:ext>
              </a:extLst>
            </p:cNvPr>
            <p:cNvSpPr txBox="1">
              <a:spLocks noChangeAspect="1"/>
            </p:cNvSpPr>
            <p:nvPr userDrawn="1"/>
          </p:nvSpPr>
          <p:spPr bwMode="auto">
            <a:xfrm>
              <a:off x="629444" y="6099175"/>
              <a:ext cx="7283748" cy="4619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lang="en-US" altLang="en-US" sz="10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0" name="FooterSimple" hidden="1">
            <a:extLst>
              <a:ext uri="{FF2B5EF4-FFF2-40B4-BE49-F238E27FC236}">
                <a16:creationId xmlns:a16="http://schemas.microsoft.com/office/drawing/2014/main" id="{A2D4BB2F-E94B-44B9-ABE5-6EAA0F827187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1" name="Date Placeholder 1">
            <a:extLst>
              <a:ext uri="{FF2B5EF4-FFF2-40B4-BE49-F238E27FC236}">
                <a16:creationId xmlns:a16="http://schemas.microsoft.com/office/drawing/2014/main" id="{C013896D-34CF-4AB4-9FBC-7949F2824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55E5BA4-A26C-4BAC-9752-15F8F8B7C24C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513113"/>
      </p:ext>
    </p:extLst>
  </p:cSld>
  <p:clrMapOvr>
    <a:masterClrMapping/>
  </p:clrMapOvr>
  <p:transition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4E802FCC-925F-40CB-915F-0F574C83D9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13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66242" name="Object 2" hidden="1">
                        <a:extLst>
                          <a:ext uri="{FF2B5EF4-FFF2-40B4-BE49-F238E27FC236}">
                            <a16:creationId xmlns:a16="http://schemas.microsoft.com/office/drawing/2014/main" id="{4AB284E5-38AB-4E2D-B74D-E2B569CE7EA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09AEB415-3FBF-4255-B7C9-68DC29B0071C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EE2CE17-156E-436B-BE32-A8AC5896FD6D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ED04DEF3-A9E1-41A5-9E65-95825D98BA5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9C7CCE99-48AD-41B4-A61A-2C8B37295E0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66265216-CB20-413B-9276-53E5DC9FF03B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95C4289E-01CF-4E4E-B8A6-3D0692FC86CE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 dirty="0">
                <a:solidFill>
                  <a:srgbClr val="FFFFFF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190076353"/>
      </p:ext>
    </p:extLst>
  </p:cSld>
  <p:clrMapOvr>
    <a:masterClrMapping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DB9F7332-6356-4E29-BF9B-885E38517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37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267266" name="Object 2" hidden="1">
                        <a:extLst>
                          <a:ext uri="{FF2B5EF4-FFF2-40B4-BE49-F238E27FC236}">
                            <a16:creationId xmlns:a16="http://schemas.microsoft.com/office/drawing/2014/main" id="{F46675B0-6F8C-4F9B-B06F-833B7A7C99F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05FB3A14-B8CF-49B4-92CF-89022DDF0C9D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068B98F-6A7E-47A0-8238-E3BD5726913A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1E26B84C-4286-4217-BFA2-4FE4E96168A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BFA8A6BE-F3A8-4B2E-A788-01C2E16BCE8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eaLnBrk="1" fontAlgn="auto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3302D743-E3F7-46F7-A265-896B1FF6054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687278"/>
      </p:ext>
    </p:extLst>
  </p:cSld>
  <p:clrMapOvr>
    <a:masterClrMapping/>
  </p:clrMapOvr>
  <p:transition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45763FAC-83CA-47E6-B15D-6A93370A0F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61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268290" name="Object 2" hidden="1">
                        <a:extLst>
                          <a:ext uri="{FF2B5EF4-FFF2-40B4-BE49-F238E27FC236}">
                            <a16:creationId xmlns:a16="http://schemas.microsoft.com/office/drawing/2014/main" id="{86451424-BF35-4370-9846-A159F40C7F3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8B6AB465-813A-4751-AB61-EFEFD842CCBA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33D96F8-CDC1-403C-96E1-E53193656F1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5D023D7E-C9DF-4352-BDC8-5C26BA7A2E33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5" name="Straight Connector 9">
            <a:extLst>
              <a:ext uri="{FF2B5EF4-FFF2-40B4-BE49-F238E27FC236}">
                <a16:creationId xmlns:a16="http://schemas.microsoft.com/office/drawing/2014/main" id="{45DFA690-8AB1-4286-82F3-88ADB8114507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10">
            <a:extLst>
              <a:ext uri="{FF2B5EF4-FFF2-40B4-BE49-F238E27FC236}">
                <a16:creationId xmlns:a16="http://schemas.microsoft.com/office/drawing/2014/main" id="{459CC16B-19A9-4912-ADD8-0FBD7A6D4FC8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800">
                <a:solidFill>
                  <a:prstClr val="white">
                    <a:lumMod val="100000"/>
                  </a:prst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95044671"/>
      </p:ext>
    </p:extLst>
  </p:cSld>
  <p:clrMapOvr>
    <a:masterClrMapping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7F40722-825F-4062-9B76-47ECEC9A92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8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69314" name="Object 1" hidden="1">
                        <a:extLst>
                          <a:ext uri="{FF2B5EF4-FFF2-40B4-BE49-F238E27FC236}">
                            <a16:creationId xmlns:a16="http://schemas.microsoft.com/office/drawing/2014/main" id="{676FFF55-C726-473C-9636-B7685A4005A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:a16="http://schemas.microsoft.com/office/drawing/2014/main" id="{5DA124B6-8E6E-4CCF-A181-44E70B29B33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0CFDB916-58AE-41B4-9801-A3A239FA53D0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90FA6D54-CAEF-40F0-8290-9CBA52D6D80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5BBE5C2-D9A2-47DF-84B7-BA6712B0C3D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D5F1F786-490E-4441-B028-98768C7F729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extBox 14">
            <a:extLst>
              <a:ext uri="{FF2B5EF4-FFF2-40B4-BE49-F238E27FC236}">
                <a16:creationId xmlns:a16="http://schemas.microsoft.com/office/drawing/2014/main" id="{9231EE9A-3D3E-46B4-87F1-759CE251FDA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4700" y="2681288"/>
            <a:ext cx="3044825" cy="149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2800">
                <a:solidFill>
                  <a:srgbClr val="FFFFFF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29250535"/>
      </p:ext>
    </p:extLst>
  </p:cSld>
  <p:clrMapOvr>
    <a:masterClrMapping/>
  </p:clrMapOvr>
  <p:transition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A6986A2-C8A2-4CC2-A9A2-7339F8E98A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640" name="Слайд think-cell" r:id="rId9" imgW="360" imgH="360" progId="TCLayout.ActiveDocument.1">
                  <p:embed/>
                </p:oleObj>
              </mc:Choice>
              <mc:Fallback>
                <p:oleObj name="Слайд think-cell" r:id="rId9" imgW="360" imgH="360" progId="TCLayout.ActiveDocument.1">
                  <p:embed/>
                  <p:pic>
                    <p:nvPicPr>
                      <p:cNvPr id="270338" name="Object 1" hidden="1">
                        <a:extLst>
                          <a:ext uri="{FF2B5EF4-FFF2-40B4-BE49-F238E27FC236}">
                            <a16:creationId xmlns:a16="http://schemas.microsoft.com/office/drawing/2014/main" id="{F2A4AB16-4098-4B27-A006-7960D878FA4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177F7C19-EE4A-45AE-A943-430072B3AA7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6019242-AE1C-4362-9E5B-B15266188DC7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7F85E36-E8C5-4E6A-8A77-2D6AA3318A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64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270340" name="Object 3" hidden="1">
                        <a:extLst>
                          <a:ext uri="{FF2B5EF4-FFF2-40B4-BE49-F238E27FC236}">
                            <a16:creationId xmlns:a16="http://schemas.microsoft.com/office/drawing/2014/main" id="{C85FD94B-60A5-4699-BDEC-43EACDE7500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F7EDCBE5-7908-4CF2-A5F2-3169BAA5DE4B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E1C9DF76-8D0C-4C7E-B801-4034F398136B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8B5C6F16-5133-40C5-822F-F3ABA4F084DB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1D7D09D7-1315-46EF-883B-8C198C550927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2749789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:a16="http://schemas.microsoft.com/office/drawing/2014/main" id="{40C46AD5-1F1B-481D-93E4-056F41A3392F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F92D0DC4-907F-43DE-990F-92A858F53A2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DF6D1C1-C469-4E0D-8846-C66EABE7AF86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F226F63D-272A-4E5C-AB52-60F7814D1F4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8">
            <a:extLst>
              <a:ext uri="{FF2B5EF4-FFF2-40B4-BE49-F238E27FC236}">
                <a16:creationId xmlns:a16="http://schemas.microsoft.com/office/drawing/2014/main" id="{AC9F0FD7-5685-4641-8250-B1BC34F4EF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9BBFA67-2437-4C0B-81A4-B1D6B2EEBA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8BF3C5F-9DAC-4AE4-A23F-CCA6E5FA554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672890"/>
      </p:ext>
    </p:extLst>
  </p:cSld>
  <p:clrMapOvr>
    <a:masterClrMapping/>
  </p:clrMapOvr>
  <p:transition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09F490-EDE9-4BF3-8605-EB8A820C32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64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71362" name="Object 1" hidden="1">
                        <a:extLst>
                          <a:ext uri="{FF2B5EF4-FFF2-40B4-BE49-F238E27FC236}">
                            <a16:creationId xmlns:a16="http://schemas.microsoft.com/office/drawing/2014/main" id="{52A38854-9E51-467D-A616-7AFA6FCA106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1AC79565-E8CC-4043-96C2-3F8074E4F43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884740E-CCB5-40B7-950E-CD1697F66A07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A76C7D-2363-44C5-95AF-47CF7842C8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6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271364" name="Object 3" hidden="1">
                        <a:extLst>
                          <a:ext uri="{FF2B5EF4-FFF2-40B4-BE49-F238E27FC236}">
                            <a16:creationId xmlns:a16="http://schemas.microsoft.com/office/drawing/2014/main" id="{33047E49-A9D1-4134-BFDC-7A7BADC6E5F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258BA61D-7B63-4586-9127-97CAC1676BA2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328DF48B-D86D-4CFB-AC15-9272ABC1D83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eaLnBrk="1" fontAlgn="auto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4E98C6">
                  <a:lumMod val="10000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0E9A574D-ADAF-4EDD-B0A2-6A9D3D032FED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682224"/>
      </p:ext>
    </p:extLst>
  </p:cSld>
  <p:clrMapOvr>
    <a:masterClrMapping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34DA26D-032A-42F8-B77B-DEBC450EC2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88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272386" name="Object 1" hidden="1">
                        <a:extLst>
                          <a:ext uri="{FF2B5EF4-FFF2-40B4-BE49-F238E27FC236}">
                            <a16:creationId xmlns:a16="http://schemas.microsoft.com/office/drawing/2014/main" id="{95E909A9-3B06-4DBA-B562-AB6CDB98573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AE09F5B2-7214-4658-AF12-F94BF2D80D4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7EF8C8D-A921-4A39-B664-C368819DDF7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D98E165-2020-49F4-A94A-412C5123CA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8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272388" name="Object 3" hidden="1">
                        <a:extLst>
                          <a:ext uri="{FF2B5EF4-FFF2-40B4-BE49-F238E27FC236}">
                            <a16:creationId xmlns:a16="http://schemas.microsoft.com/office/drawing/2014/main" id="{4C59AB18-BF80-4AA7-8AE2-89B3192B5AE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10D3EA9E-8BC1-471D-B76B-88295FBDB944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6" name="Straight Connector 7">
            <a:extLst>
              <a:ext uri="{FF2B5EF4-FFF2-40B4-BE49-F238E27FC236}">
                <a16:creationId xmlns:a16="http://schemas.microsoft.com/office/drawing/2014/main" id="{E7B4CCF7-F6EC-42DF-861E-6924DE041E1E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8">
            <a:extLst>
              <a:ext uri="{FF2B5EF4-FFF2-40B4-BE49-F238E27FC236}">
                <a16:creationId xmlns:a16="http://schemas.microsoft.com/office/drawing/2014/main" id="{1A985351-DE61-4153-A7F6-51879983514F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4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00188628"/>
      </p:ext>
    </p:extLst>
  </p:cSld>
  <p:clrMapOvr>
    <a:masterClrMapping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74ED654-2433-46CE-B3CE-9E20900F29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8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73410" name="Object 1" hidden="1">
                        <a:extLst>
                          <a:ext uri="{FF2B5EF4-FFF2-40B4-BE49-F238E27FC236}">
                            <a16:creationId xmlns:a16="http://schemas.microsoft.com/office/drawing/2014/main" id="{392A5325-3AF2-4753-B263-FC6FC829E3C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:a16="http://schemas.microsoft.com/office/drawing/2014/main" id="{AB11AE29-CFFA-4A9A-8EFB-DAEF9EA7DA5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:a16="http://schemas.microsoft.com/office/drawing/2014/main" id="{E4824844-8C6E-4E3A-8C74-FDC1A068B4E7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302467EB-04A3-46EB-9A3A-AF6458F6A3C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9F178A7-FFEE-435E-8F5E-BE5A2090D5F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B8B7F40F-7DCA-44D8-AC39-0D9870E3FEBF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extBox 14">
            <a:extLst>
              <a:ext uri="{FF2B5EF4-FFF2-40B4-BE49-F238E27FC236}">
                <a16:creationId xmlns:a16="http://schemas.microsoft.com/office/drawing/2014/main" id="{D4EF698F-AFEA-4F08-9FF4-FFAA97441F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4700" y="2681288"/>
            <a:ext cx="3044825" cy="149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2400">
                <a:solidFill>
                  <a:srgbClr val="FFFFFF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28697962"/>
      </p:ext>
    </p:extLst>
  </p:cSld>
  <p:clrMapOvr>
    <a:masterClrMapping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68B45CD-B273-4700-8D0D-3351D32F0C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0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74434" name="Object 1" hidden="1">
                        <a:extLst>
                          <a:ext uri="{FF2B5EF4-FFF2-40B4-BE49-F238E27FC236}">
                            <a16:creationId xmlns:a16="http://schemas.microsoft.com/office/drawing/2014/main" id="{23D7CC82-1AB2-4A60-99B8-CA60084E657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:a16="http://schemas.microsoft.com/office/drawing/2014/main" id="{C42F7132-CD8B-4B49-866F-FD7FB00D1D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:a16="http://schemas.microsoft.com/office/drawing/2014/main" id="{75431AEC-1FC3-46B4-B2E7-96A0A1130051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B7471760-9753-4C16-AD3C-CB3A6B0E3BD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CAE3F15-3B7A-4696-BA6B-EB56E192C0E2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TextBox 13">
            <a:extLst>
              <a:ext uri="{FF2B5EF4-FFF2-40B4-BE49-F238E27FC236}">
                <a16:creationId xmlns:a16="http://schemas.microsoft.com/office/drawing/2014/main" id="{F41CF5C6-3C24-4569-B0E4-5E906422CF6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2000" y="2711450"/>
            <a:ext cx="2738438" cy="1435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ts val="700"/>
              </a:spcAft>
              <a:defRPr/>
            </a:pPr>
            <a:r>
              <a:rPr lang="en-US" altLang="en-US" sz="4400">
                <a:solidFill>
                  <a:srgbClr val="295E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5623ABF1-0B4B-464F-BD61-5517AB8C759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4804414"/>
      </p:ext>
    </p:extLst>
  </p:cSld>
  <p:clrMapOvr>
    <a:masterClrMapping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>
            <a:extLst>
              <a:ext uri="{FF2B5EF4-FFF2-40B4-BE49-F238E27FC236}">
                <a16:creationId xmlns:a16="http://schemas.microsoft.com/office/drawing/2014/main" id="{1EBCEABA-4DD9-4B1C-A475-D9CCE7A32E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2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75458" name="Object 1" hidden="1">
                        <a:extLst>
                          <a:ext uri="{FF2B5EF4-FFF2-40B4-BE49-F238E27FC236}">
                            <a16:creationId xmlns:a16="http://schemas.microsoft.com/office/drawing/2014/main" id="{3178A5C5-F917-4FF5-8235-0279CDB0824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age">
            <a:extLst>
              <a:ext uri="{FF2B5EF4-FFF2-40B4-BE49-F238E27FC236}">
                <a16:creationId xmlns:a16="http://schemas.microsoft.com/office/drawing/2014/main" id="{E21D474C-FE17-435F-8F43-82D650AC6D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A069FD1-1B1A-4F9F-9514-F51542CC93D8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8" y="1508760"/>
            <a:ext cx="11074087" cy="4590288"/>
          </a:xfrm>
        </p:spPr>
        <p:txBody>
          <a:bodyPr/>
          <a:lstStyle>
            <a:lvl1pPr>
              <a:spcBef>
                <a:spcPts val="312"/>
              </a:spcBef>
              <a:defRPr/>
            </a:lvl1pPr>
            <a:lvl2pPr marL="371475" indent="-187200">
              <a:spcBef>
                <a:spcPts val="312"/>
              </a:spcBef>
              <a:defRPr/>
            </a:lvl2pPr>
            <a:lvl3pPr marL="742950" indent="-187200">
              <a:spcBef>
                <a:spcPts val="312"/>
              </a:spcBef>
              <a:defRPr/>
            </a:lvl3pPr>
            <a:lvl4pPr marL="1117350" indent="-190125">
              <a:spcBef>
                <a:spcPts val="312"/>
              </a:spcBef>
              <a:defRPr/>
            </a:lvl4pPr>
            <a:lvl5pPr marL="1673100" indent="-187200">
              <a:spcBef>
                <a:spcPts val="312"/>
              </a:spcBef>
              <a:defRPr/>
            </a:lvl5pPr>
          </a:lstStyle>
          <a:p>
            <a:pPr lvl="0"/>
            <a:r>
              <a:rPr lang="ru"/>
              <a:t>Click to edit Master text styles</a:t>
            </a:r>
          </a:p>
          <a:p>
            <a:pPr lvl="1"/>
            <a:r>
              <a:rPr lang="ru"/>
              <a:t>Second level</a:t>
            </a:r>
          </a:p>
          <a:p>
            <a:pPr lvl="2"/>
            <a:r>
              <a:rPr lang="ru"/>
              <a:t>Third level</a:t>
            </a:r>
          </a:p>
          <a:p>
            <a:pPr lvl="3"/>
            <a:r>
              <a:rPr lang="ru"/>
              <a:t>Fourth level</a:t>
            </a:r>
          </a:p>
          <a:p>
            <a:pPr lvl="4"/>
            <a:r>
              <a:rPr lang="ru"/>
              <a:t>Fifth level</a:t>
            </a:r>
            <a:endParaRPr lang="ru" dirty="0"/>
          </a:p>
        </p:txBody>
      </p:sp>
    </p:spTree>
    <p:extLst>
      <p:ext uri="{BB962C8B-B14F-4D97-AF65-F5344CB8AC3E}">
        <p14:creationId xmlns:p14="http://schemas.microsoft.com/office/powerpoint/2010/main" val="3681517773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nelWhite">
            <a:extLst>
              <a:ext uri="{FF2B5EF4-FFF2-40B4-BE49-F238E27FC236}">
                <a16:creationId xmlns:a16="http://schemas.microsoft.com/office/drawing/2014/main" id="{E4BD2CF1-411E-4397-A516-760D84BE4519}"/>
              </a:ext>
            </a:extLst>
          </p:cNvPr>
          <p:cNvSpPr/>
          <p:nvPr userDrawn="1"/>
        </p:nvSpPr>
        <p:spPr>
          <a:xfrm>
            <a:off x="0" y="5278438"/>
            <a:ext cx="12192000" cy="157956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Shadow">
            <a:extLst>
              <a:ext uri="{FF2B5EF4-FFF2-40B4-BE49-F238E27FC236}">
                <a16:creationId xmlns:a16="http://schemas.microsoft.com/office/drawing/2014/main" id="{C66AE8A6-F003-4439-AA2D-82F3D43FBE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" t="102" r="8742" b="1730"/>
          <a:stretch>
            <a:fillRect/>
          </a:stretch>
        </p:blipFill>
        <p:spPr bwMode="auto">
          <a:xfrm>
            <a:off x="3751263" y="5094288"/>
            <a:ext cx="8440737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:a16="http://schemas.microsoft.com/office/drawing/2014/main" id="{6196F826-4B8C-4D70-97D9-2A5711EB66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404" r="38" b="24950"/>
          <a:stretch>
            <a:fillRect/>
          </a:stretch>
        </p:blipFill>
        <p:spPr bwMode="auto">
          <a:xfrm>
            <a:off x="-17463" y="0"/>
            <a:ext cx="12218988" cy="52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>
            <a:extLst>
              <a:ext uri="{FF2B5EF4-FFF2-40B4-BE49-F238E27FC236}">
                <a16:creationId xmlns:a16="http://schemas.microsoft.com/office/drawing/2014/main" id="{E9129BDD-87CD-4C11-8643-53628387FE09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71525" y="1509713"/>
            <a:ext cx="7913688" cy="4646612"/>
          </a:xfrm>
          <a:prstGeom prst="rect">
            <a:avLst/>
          </a:prstGeom>
          <a:gradFill rotWithShape="0">
            <a:gsLst>
              <a:gs pos="0">
                <a:srgbClr val="071117"/>
              </a:gs>
              <a:gs pos="100000">
                <a:srgbClr val="295E7E">
                  <a:alpha val="89999"/>
                </a:srgbClr>
              </a:gs>
            </a:gsLst>
            <a:lin ang="8400000"/>
          </a:gra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1000"/>
              </a:spcAft>
              <a:defRPr/>
            </a:pPr>
            <a:endParaRPr lang="en-US" alt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2" descr="Image result for министерство труда казахстана logo">
            <a:extLst>
              <a:ext uri="{FF2B5EF4-FFF2-40B4-BE49-F238E27FC236}">
                <a16:creationId xmlns:a16="http://schemas.microsoft.com/office/drawing/2014/main" id="{FC5230E6-F05A-4277-9700-5915DA55E9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701800"/>
            <a:ext cx="901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4">
            <a:extLst>
              <a:ext uri="{FF2B5EF4-FFF2-40B4-BE49-F238E27FC236}">
                <a16:creationId xmlns:a16="http://schemas.microsoft.com/office/drawing/2014/main" id="{BB54A4A7-18AB-418B-A3EF-FD272849837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Министерство труда и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социальной защиты населения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Республики Казахстан</a:t>
            </a:r>
            <a:endParaRPr lang="en-US" altLang="en-US" sz="1400" b="1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Logo Placeholder"/>
          <p:cNvSpPr>
            <a:spLocks noGrp="1"/>
          </p:cNvSpPr>
          <p:nvPr>
            <p:ph type="pic" sz="quarter" idx="13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364465"/>
      </p:ext>
    </p:extLst>
  </p:cSld>
  <p:clrMapOvr>
    <a:masterClrMapping/>
  </p:clrMapOvr>
  <p:transition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E4BE1097-5AC2-468A-A81F-D9F046C36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7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77506" name="Object 1" hidden="1">
                        <a:extLst>
                          <a:ext uri="{FF2B5EF4-FFF2-40B4-BE49-F238E27FC236}">
                            <a16:creationId xmlns:a16="http://schemas.microsoft.com/office/drawing/2014/main" id="{5A7D64DE-6B8C-4DBE-8A92-1A8DC697D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A62D6AFB-1804-4F55-A0BF-9A0A1976E31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164CD20-5A83-46C0-B054-74F7F7385FA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B11541E5-EFC1-4DE0-8A5A-C9063BC8C04B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E0A21986-98CF-4036-A877-80895EA334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DEC2570-8A15-471C-B8D2-3920A01F0729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2737714"/>
      </p:ext>
    </p:extLst>
  </p:cSld>
  <p:clrMapOvr>
    <a:masterClrMapping/>
  </p:clrMapOvr>
  <p:transition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13129CA0-6FBC-4174-A510-81B5685361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0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78530" name="Object 1" hidden="1">
                        <a:extLst>
                          <a:ext uri="{FF2B5EF4-FFF2-40B4-BE49-F238E27FC236}">
                            <a16:creationId xmlns:a16="http://schemas.microsoft.com/office/drawing/2014/main" id="{19228CB1-FC9F-4C57-A1A1-68A6A13B82F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DC3568E5-77BA-469E-BD0F-886E5AE6316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62FFBA9-405A-4B91-90D3-9D166B9F1ED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PanelGray">
            <a:extLst>
              <a:ext uri="{FF2B5EF4-FFF2-40B4-BE49-F238E27FC236}">
                <a16:creationId xmlns:a16="http://schemas.microsoft.com/office/drawing/2014/main" id="{6E5EFA04-C612-423A-AEF6-225F9E2A935A}"/>
              </a:ext>
            </a:extLst>
          </p:cNvPr>
          <p:cNvSpPr/>
          <p:nvPr userDrawn="1"/>
        </p:nvSpPr>
        <p:spPr bwMode="ltGray">
          <a:xfrm>
            <a:off x="0" y="0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103922F3-5388-4697-82F3-2C5C2D52B12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 bwMode="ltGray">
          <a:xfrm>
            <a:off x="775384" y="1544274"/>
            <a:ext cx="3359506" cy="1495794"/>
          </a:xfrm>
          <a:noFill/>
        </p:spPr>
        <p:txBody>
          <a:bodyPr rIns="320040" anchor="b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77C6DCDA-E673-4624-B4EB-E2A66D3FC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45EDF0F-3A82-4781-8C07-5DC6AE150EFA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533866"/>
      </p:ext>
    </p:extLst>
  </p:cSld>
  <p:clrMapOvr>
    <a:masterClrMapping/>
  </p:clrMapOvr>
  <p:transition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1E844649-6026-41BF-8D7D-3A3423863AA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AB3204A-7105-427D-A30A-2D2565F047C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Square">
            <a:extLst>
              <a:ext uri="{FF2B5EF4-FFF2-40B4-BE49-F238E27FC236}">
                <a16:creationId xmlns:a16="http://schemas.microsoft.com/office/drawing/2014/main" id="{90DE883B-B561-4C82-AF6A-7ECEA1675748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090613" y="1457325"/>
            <a:ext cx="1128712" cy="9191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F6F88009-6949-4A78-8DE3-7D2C4B2B547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28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E31E4CE4-FAD1-4159-B319-1737E9583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3718D50-DBA6-434E-BDB3-5C90FD86EF1B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375099"/>
      </p:ext>
    </p:extLst>
  </p:cSld>
  <p:clrMapOvr>
    <a:masterClrMapping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E3A7F146-ED51-42A0-BCBE-7A829FDF8E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BA9B8B5-1EC9-4C21-9E5D-F9D22E27E49C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4" name="Line">
            <a:extLst>
              <a:ext uri="{FF2B5EF4-FFF2-40B4-BE49-F238E27FC236}">
                <a16:creationId xmlns:a16="http://schemas.microsoft.com/office/drawing/2014/main" id="{5D2735DB-E17D-45C8-8F80-2B4EA0D95F7D}"/>
              </a:ext>
            </a:extLst>
          </p:cNvPr>
          <p:cNvCxnSpPr/>
          <p:nvPr userDrawn="1"/>
        </p:nvCxnSpPr>
        <p:spPr bwMode="white">
          <a:xfrm>
            <a:off x="774700" y="3679825"/>
            <a:ext cx="11417300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67555CCC-905E-41C6-95B1-A6F2FF3156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11AD849-6DF8-4C4A-9CDF-7DEC4E1FDA8E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27793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880273D3-D425-4BEF-9DE2-3E3D6161A3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138" y="3594100"/>
            <a:ext cx="1679575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:a16="http://schemas.microsoft.com/office/drawing/2014/main" id="{8211B28B-0E56-4827-934F-B5E2B90A8D01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1BAC364A-C13E-485F-A485-EE90DC2392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5733E08-B632-4B80-A36E-E566DAC11A4D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B5E3DCBE-6500-4946-B842-B37E0A647627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C64C2E39-7776-420B-A151-BEC1B30C16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23BD19E-2DC8-4AD3-B503-F9D63C4238C1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205458"/>
      </p:ext>
    </p:extLst>
  </p:cSld>
  <p:clrMapOvr>
    <a:masterClrMapping/>
  </p:clrMapOvr>
  <p:transition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3F77D57E-C467-4BC6-B367-7ACFD600E8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8F8B1440-AADB-4F7F-AC61-6CA290D32664}"/>
              </a:ext>
            </a:extLst>
          </p:cNvPr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C1172BA4-E31B-457A-953F-14403ECE514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64F6EA0-1A5D-42D5-BC0D-9F2E622D69BA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630A69B2-4D64-4541-878A-DAB056E92C3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5077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D948D20E-735A-4B1E-A86A-BC4715BCC4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9536B7A-A8F9-4A6E-984F-B89CAC97C6DD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603464"/>
      </p:ext>
    </p:extLst>
  </p:cSld>
  <p:clrMapOvr>
    <a:masterClrMapping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69864F39-E417-4DDF-A196-877D96EB343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61294AB3-B4F3-4237-96E4-96B6EE77036D}"/>
              </a:ext>
            </a:extLst>
          </p:cNvPr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36F3A044-D202-4661-855A-335F9D819B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03298DC-521A-492B-96F5-BAEC4737636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84F6552D-E697-4CA5-A4E6-95FD0076937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CB902A4F-6E86-4CE4-9337-F2125B84AE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A344B55-5D5E-43D1-9DEB-E1474D99B136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724940"/>
      </p:ext>
    </p:extLst>
  </p:cSld>
  <p:clrMapOvr>
    <a:masterClrMapping/>
  </p:clrMapOvr>
  <p:transition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E561ADA7-8B7D-4C2C-98C8-127A6E298A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149C907F-E019-467E-8261-BA5DC828CC5C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2CDEA412-1657-4E6C-AA8C-200B0398D0B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5F8C332-8368-4F81-A840-C4186BF917A2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27B9FE2C-DA1D-43E1-A487-E781FB43C66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93EBDE79-F726-4EAD-B83D-0A9E01DD15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C146EA3-67E7-4076-B693-078E562CC693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682816"/>
      </p:ext>
    </p:extLst>
  </p:cSld>
  <p:clrMapOvr>
    <a:masterClrMapping/>
  </p:clrMapOvr>
  <p:transition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:a16="http://schemas.microsoft.com/office/drawing/2014/main" id="{E7062BE6-4C13-43DF-A1CA-6871D1F7B87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Gray">
            <a:extLst>
              <a:ext uri="{FF2B5EF4-FFF2-40B4-BE49-F238E27FC236}">
                <a16:creationId xmlns:a16="http://schemas.microsoft.com/office/drawing/2014/main" id="{BFDCD686-E5D2-42E9-A814-0719CCF9403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9">
            <a:extLst>
              <a:ext uri="{FF2B5EF4-FFF2-40B4-BE49-F238E27FC236}">
                <a16:creationId xmlns:a16="http://schemas.microsoft.com/office/drawing/2014/main" id="{854271EA-37FE-455E-B6A4-4FF78C1434F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4E7EC46-77F0-49E4-9B77-F5E998503EE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D94D5FCF-65FD-415A-B1C0-03B8BF1B7AB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">
          <a:xfrm>
            <a:off x="775384" y="1785600"/>
            <a:ext cx="4269724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2F671A2E-027E-4B83-A82A-3CC342A6DD2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9EF2323-A547-42C3-83C6-76A5A6D22EF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388574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:a16="http://schemas.microsoft.com/office/drawing/2014/main" id="{D3A3102F-F902-4CD8-9672-91DDF24C400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Gray">
            <a:extLst>
              <a:ext uri="{FF2B5EF4-FFF2-40B4-BE49-F238E27FC236}">
                <a16:creationId xmlns:a16="http://schemas.microsoft.com/office/drawing/2014/main" id="{891479B9-B536-49D2-9290-087742EE88EB}"/>
              </a:ext>
            </a:extLst>
          </p:cNvPr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:a16="http://schemas.microsoft.com/office/drawing/2014/main" id="{CCB1DF6A-7404-4724-A70C-F822206A25E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CB9BF70-1C08-46A6-9A72-AF93C3ADF90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B50BBBB4-E6A2-41A2-A786-6FC758CDA972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608985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C5170E6E-DC62-4B3C-B84E-3C07926B3DD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EEF7074-0F1B-4854-B318-803B2CB44F67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748545"/>
      </p:ext>
    </p:extLst>
  </p:cSld>
  <p:clrMapOvr>
    <a:masterClrMapping/>
  </p:clrMapOvr>
  <p:transition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019A8432-11B4-4785-91A4-481F8059D36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:a16="http://schemas.microsoft.com/office/drawing/2014/main" id="{BC754CE3-8DC8-4CFD-ABFD-A612F94C8B12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3BE23791-90C9-45BF-BF6B-C672FCA63C9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B2E97FD-0120-4FB7-80EF-EFA28624D70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45055885-4A22-441D-9B02-4968F0ADE457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/>
          </p:nvPr>
        </p:nvSpPr>
        <p:spPr>
          <a:xfrm>
            <a:off x="775386" y="2680200"/>
            <a:ext cx="2442215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F5763434-6650-4093-A74C-8DFE82B6A2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F4445C9-D601-444D-9F50-50E85532B953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279428"/>
      </p:ext>
    </p:extLst>
  </p:cSld>
  <p:clrMapOvr>
    <a:masterClrMapping/>
  </p:clrMapOvr>
  <p:transition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:a16="http://schemas.microsoft.com/office/drawing/2014/main" id="{E43FF260-3DCB-40FA-9CAF-493F74E3F71C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E1890E69-979A-4749-A517-8A1A9A5635D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CBAB2C7-A83C-4D4E-A914-D644C076DFAE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6A52C97A-D0F2-4215-94E4-0D3FA833A4AF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695BD8E9-AD43-4097-9A12-812336D107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75386" y="2680199"/>
            <a:ext cx="2442215" cy="1497600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4D1F14A-F964-4C75-94C5-19B5EF5894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DBE47DC-81CE-4856-99A9-371B1E5F2E14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712626"/>
      </p:ext>
    </p:extLst>
  </p:cSld>
  <p:clrMapOvr>
    <a:masterClrMapping/>
  </p:clrMapOvr>
  <p:transition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BB7147F8-ACA4-4D46-BC4B-C2C3B742F82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613" y="3395663"/>
            <a:ext cx="15970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:a16="http://schemas.microsoft.com/office/drawing/2014/main" id="{E464862E-DDE3-4EB9-8B21-BED61CF0622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8CD88695-2174-4D06-BD9D-9FA94F97A6B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9221516-E815-4B1B-A1CC-EA14C55AE26E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F910BE18-105F-4FCD-8BD7-38AD9F5B88F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945B2572-D9C1-4508-8F8F-DDE5B9273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A497F3E-DE4E-4FC9-9A8C-59D6B70366CB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804409"/>
      </p:ext>
    </p:extLst>
  </p:cSld>
  <p:clrMapOvr>
    <a:masterClrMapping/>
  </p:clrMapOvr>
  <p:transition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:a16="http://schemas.microsoft.com/office/drawing/2014/main" id="{AA69B082-23C8-4F46-BAB4-8C626E10CDE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80F129D5-E90D-4EB0-B12A-3DE1C98F324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262049E-E0A1-486A-A6BE-10A497FEA637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9DE66E56-7638-4D16-9750-127BE383913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588184B3-AF1B-4373-B144-89CF31AEC2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934096A9-F028-474C-9F40-68C04342C1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E9495E9-7F83-4859-84A3-736762871E6B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725529"/>
      </p:ext>
    </p:extLst>
  </p:cSld>
  <p:clrMapOvr>
    <a:masterClrMapping/>
  </p:clrMapOvr>
  <p:transition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065BBD7C-29E7-4B9A-9EB4-0B8444E797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350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:a16="http://schemas.microsoft.com/office/drawing/2014/main" id="{E19C069E-23AE-4DF1-B069-990BAB0FBB45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A2C54651-E83E-43CE-994A-8CA3F34E3D9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816D685-2946-4742-814C-5DFADEF34F9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A37B8F66-6C7B-46DE-BA0E-2FCBC7EE30B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950F33BE-772E-4101-9899-6E6D5C6FF3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F488617-A8F3-423F-94F7-508519BBF351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24446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:a16="http://schemas.microsoft.com/office/drawing/2014/main" id="{E9BB4DC6-CE31-41C6-A904-ACB377A497B7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8A2AF96D-7C24-460D-AFAB-693A4922932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D29F349-E62A-4646-8271-C52B0AD8B5FE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61651352-1F50-46F4-8EA8-6831B32CEEC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9">
            <a:extLst>
              <a:ext uri="{FF2B5EF4-FFF2-40B4-BE49-F238E27FC236}">
                <a16:creationId xmlns:a16="http://schemas.microsoft.com/office/drawing/2014/main" id="{92E2FB34-38F8-4F66-BB42-DD1BB45BB0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23FEE2ED-9D30-49D6-85D6-7E541D595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EBF8580E-206F-4BC5-8A1E-D17E32BABF82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301224"/>
      </p:ext>
    </p:extLst>
  </p:cSld>
  <p:clrMapOvr>
    <a:masterClrMapping/>
  </p:clrMapOvr>
  <p:transition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:a16="http://schemas.microsoft.com/office/drawing/2014/main" id="{4CF30730-E8AD-4B83-8FB4-EA8810ECE8F8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FB96F07A-59E4-4086-9BB6-51F2721251D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7FC9DF0-D913-4600-BC31-A9DB216B2FD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4A684CC1-C50C-46A0-8692-0EA446D520A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8">
            <a:extLst>
              <a:ext uri="{FF2B5EF4-FFF2-40B4-BE49-F238E27FC236}">
                <a16:creationId xmlns:a16="http://schemas.microsoft.com/office/drawing/2014/main" id="{D8F03D19-3468-46A7-A2B8-EF782C5A33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4BA8D9C-E161-411B-B0D1-D9BF9F7AD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3C49577-09E3-4F67-B3F7-3A87E42DE071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68590"/>
      </p:ext>
    </p:extLst>
  </p:cSld>
  <p:clrMapOvr>
    <a:masterClrMapping/>
  </p:clrMapOvr>
  <p:transition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16697BC9-59FC-4027-BF71-A7B23918FF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138" y="3594100"/>
            <a:ext cx="1679575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:a16="http://schemas.microsoft.com/office/drawing/2014/main" id="{F4405889-BB62-468B-8D0E-D12AA8756009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7A2A439B-89B1-423B-9BE5-99D68FA67CB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FA834F8-973B-459C-A141-9A717ECC1AD2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1F85FFD0-B59F-4BEE-8122-9EA4B66F6666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885A7E8B-C810-4C1D-ACB5-57302C2880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F8F8A0E-7F82-49EF-8579-1EA3AC359BFE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133914"/>
      </p:ext>
    </p:extLst>
  </p:cSld>
  <p:clrMapOvr>
    <a:masterClrMapping/>
  </p:clrMapOvr>
  <p:transition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:a16="http://schemas.microsoft.com/office/drawing/2014/main" id="{66442C93-4492-4D9C-9E94-92F92BF85DAE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3E4CA67D-0F2E-4B32-A861-EED0C3D539B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0FE74BB-26BF-44B7-8308-B78615AA305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44A8CEEF-CAC1-4BBB-B60C-C4840D431B4F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9">
            <a:extLst>
              <a:ext uri="{FF2B5EF4-FFF2-40B4-BE49-F238E27FC236}">
                <a16:creationId xmlns:a16="http://schemas.microsoft.com/office/drawing/2014/main" id="{7148D7D1-A20B-4C6A-9217-C8D43BF52F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849A51E-1FBD-4E7C-B61A-235C9C6F1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F5FB41D-3AE8-4750-B678-9393A88E8AC4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385850"/>
      </p:ext>
    </p:extLst>
  </p:cSld>
  <p:clrMapOvr>
    <a:masterClrMapping/>
  </p:clrMapOvr>
  <p:transition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356F4254-F577-43A8-82D6-05AD0149EF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6B8A3DC-13CC-47AF-A9AA-FF303CCBADE4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FEFBD721-2824-498E-9760-CE672163053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AC14DAC-A5D2-4D6F-87F8-4D652A7726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C6BEFBF-838B-44D7-9C4B-8B497A013E00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161634"/>
      </p:ext>
    </p:extLst>
  </p:cSld>
  <p:clrMapOvr>
    <a:masterClrMapping/>
  </p:clrMapOvr>
  <p:transition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90DF58F1-E42F-4DE2-9B88-1F35A3D2D2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2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95938" name="Object 1" hidden="1">
                        <a:extLst>
                          <a:ext uri="{FF2B5EF4-FFF2-40B4-BE49-F238E27FC236}">
                            <a16:creationId xmlns:a16="http://schemas.microsoft.com/office/drawing/2014/main" id="{6592ACFF-3100-4F96-8FB9-32CBCF9A24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3203C9FF-3B8D-4810-B83E-32DC46573F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043440F-E746-4565-B65C-D8A84627644A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:a16="http://schemas.microsoft.com/office/drawing/2014/main" id="{7C9F850D-7C02-44D6-9F96-DED875072197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774700" y="625475"/>
            <a:ext cx="1130300" cy="917575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9066C3C5-A1F2-4D26-844F-E421632421BA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A6294603-76B5-4810-ABAA-A372744EB2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B472AB8-5460-4614-B6BF-2C4666BF1F68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631400"/>
      </p:ext>
    </p:extLst>
  </p:cSld>
  <p:clrMapOvr>
    <a:masterClrMapping/>
  </p:clrMapOvr>
  <p:transition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:a16="http://schemas.microsoft.com/office/drawing/2014/main" id="{CC40FA71-0EAD-4F5E-BAC7-E576550B8E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Bubble">
            <a:extLst>
              <a:ext uri="{FF2B5EF4-FFF2-40B4-BE49-F238E27FC236}">
                <a16:creationId xmlns:a16="http://schemas.microsoft.com/office/drawing/2014/main" id="{DFFCC264-B2DA-4CF7-9BA6-E6FCD6199932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3A5941A-8C02-4ED6-A3C7-CCEE9CEFB2B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" name="Right Triangle 55">
              <a:extLst>
                <a:ext uri="{FF2B5EF4-FFF2-40B4-BE49-F238E27FC236}">
                  <a16:creationId xmlns:a16="http://schemas.microsoft.com/office/drawing/2014/main" id="{40AD52C9-ED5F-450E-9980-D5293C47369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6" name="Page">
            <a:extLst>
              <a:ext uri="{FF2B5EF4-FFF2-40B4-BE49-F238E27FC236}">
                <a16:creationId xmlns:a16="http://schemas.microsoft.com/office/drawing/2014/main" id="{27393D23-2025-442C-BA97-6DA559B991F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243849A-E29A-48BE-A712-4711C7C987F0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7033578"/>
      </p:ext>
    </p:extLst>
  </p:cSld>
  <p:clrMapOvr>
    <a:masterClrMapping/>
  </p:clrMapOvr>
  <p:transition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EF328482-D88A-40A6-A549-2B242041A760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F6ABDEC-2AF7-4118-8AD1-ABC269C25997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AC533B4B-940F-47E2-A3F1-A5194750CD7D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BC721208-044A-41B9-BB3F-5097B871C18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71418EC-129A-4AA6-AD5D-6AA31AAD3756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024999"/>
      </p:ext>
    </p:extLst>
  </p:cSld>
  <p:clrMapOvr>
    <a:masterClrMapping/>
  </p:clrMapOvr>
  <p:transition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4AC40FD-F155-4A3F-AAF5-56F844050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4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99010" name="Object 1" hidden="1">
                        <a:extLst>
                          <a:ext uri="{FF2B5EF4-FFF2-40B4-BE49-F238E27FC236}">
                            <a16:creationId xmlns:a16="http://schemas.microsoft.com/office/drawing/2014/main" id="{08079655-C985-46DD-B9F5-AE252FA2A38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939E1CCD-CE85-4DC4-87E5-65B28E8FB4F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D8AAB57-755C-4D4B-879A-20B088DC1CD7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137B7B71-3F26-4316-9FED-B1F968CD6CA3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FB30F3-6DB4-4EBD-B2CC-30773CE89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E6883AC-9EA9-43E7-9AE9-6C64AFAE345A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207484"/>
      </p:ext>
    </p:extLst>
  </p:cSld>
  <p:clrMapOvr>
    <a:masterClrMapping/>
  </p:clrMapOvr>
  <p:transition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>
            <a:extLst>
              <a:ext uri="{FF2B5EF4-FFF2-40B4-BE49-F238E27FC236}">
                <a16:creationId xmlns:a16="http://schemas.microsoft.com/office/drawing/2014/main" id="{BF16A4CD-BFEB-4EF6-82DE-7635B7D4802C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E7E679E-CD46-4924-A450-48E2BD0D668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FooterSimple" hidden="1">
            <a:extLst>
              <a:ext uri="{FF2B5EF4-FFF2-40B4-BE49-F238E27FC236}">
                <a16:creationId xmlns:a16="http://schemas.microsoft.com/office/drawing/2014/main" id="{0558717F-1D9E-48FC-9415-2071F6A6A040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B7515F4F-AA1D-4E6A-9D65-4634D1DB9C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A135834-B819-40C8-B112-D4FAFAEBF358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8771502"/>
      </p:ext>
    </p:extLst>
  </p:cSld>
  <p:clrMapOvr>
    <a:masterClrMapping/>
  </p:clrMapOvr>
  <p:transition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2FF7C8D-0E48-4D11-AA63-20A89AD45F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01058" name="Object 1" hidden="1">
                        <a:extLst>
                          <a:ext uri="{FF2B5EF4-FFF2-40B4-BE49-F238E27FC236}">
                            <a16:creationId xmlns:a16="http://schemas.microsoft.com/office/drawing/2014/main" id="{01396C73-97E6-4476-A2AB-4427C624810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3BDF935D-E4FE-42DF-BA35-D2C1642D85A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3852295-E38D-454E-A467-4648CEF3262A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79FFF85F-DDA1-4173-87AE-164A8F20CC9D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535441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CAF76F1-9412-4D01-B46F-C5687DC029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216162-93E0-4B38-9427-4FEEC289DAD6}" type="datetime1">
              <a:rPr lang="en-US" smtClean="0"/>
              <a:t>5/25/2021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D806FA2-307F-442B-9017-64792EFA1D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22607A9-7A33-4CCF-8A5D-A8882CF4FA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CB03FB-B0E0-4B76-A0EA-AD34A4E07CF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529306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9A306D9C-49AA-4469-9F5F-71049DD45F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9CFBCC7-9639-44BC-955E-2737E954AB6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3B490F4F-BDCF-4C79-8D47-F1EC9108267F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421871B5-3976-48AF-BCC1-92CB3A6040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9E32865-6319-4BA8-BA3C-7AF30B5EE6F0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2174513"/>
      </p:ext>
    </p:extLst>
  </p:cSld>
  <p:clrMapOvr>
    <a:masterClrMapping/>
  </p:clrMapOvr>
  <p:transition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807030"/>
      </p:ext>
    </p:extLst>
  </p:cSld>
  <p:clrMapOvr>
    <a:masterClrMapping/>
  </p:clrMapOvr>
  <p:transition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yout gu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D60793-7FAA-4C69-BEF5-2BBACE112D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9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03106" name="Object 1" hidden="1">
                        <a:extLst>
                          <a:ext uri="{FF2B5EF4-FFF2-40B4-BE49-F238E27FC236}">
                            <a16:creationId xmlns:a16="http://schemas.microsoft.com/office/drawing/2014/main" id="{E48131AF-6149-4F96-879C-804B84E95C9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49099A4F-8823-4DA1-98B6-F6E4BF8E5A0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A8E125F-67D0-4286-A93D-A3609AA4D7B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BE2EC3D3-783B-44E9-831E-473FCFA69B0F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16200000">
            <a:off x="9452769" y="3921919"/>
            <a:ext cx="5133975" cy="968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83C56D26-012D-4902-814F-081A9815F2AA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6" name="A4Grid">
            <a:extLst>
              <a:ext uri="{FF2B5EF4-FFF2-40B4-BE49-F238E27FC236}">
                <a16:creationId xmlns:a16="http://schemas.microsoft.com/office/drawing/2014/main" id="{83714997-EDBC-43C1-A2D4-442A9F1CD26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68F022F8-93E6-4674-B9F7-0AAE262657A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8" name="No-fly zone">
              <a:extLst>
                <a:ext uri="{FF2B5EF4-FFF2-40B4-BE49-F238E27FC236}">
                  <a16:creationId xmlns:a16="http://schemas.microsoft.com/office/drawing/2014/main" id="{92E280C5-5F1C-470D-836F-FD657194BD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29400 w 9906000"/>
                <a:gd name="T1" fmla="*/ 622800 h 6858000"/>
                <a:gd name="T2" fmla="*/ 629400 w 9906000"/>
                <a:gd name="T3" fmla="*/ 6156000 h 6858000"/>
                <a:gd name="T4" fmla="*/ 9276600 w 9906000"/>
                <a:gd name="T5" fmla="*/ 6156000 h 6858000"/>
                <a:gd name="T6" fmla="*/ 9276600 w 9906000"/>
                <a:gd name="T7" fmla="*/ 622800 h 6858000"/>
                <a:gd name="T8" fmla="*/ 0 w 9906000"/>
                <a:gd name="T9" fmla="*/ 0 h 6858000"/>
                <a:gd name="T10" fmla="*/ 629400 w 9906000"/>
                <a:gd name="T11" fmla="*/ 0 h 6858000"/>
                <a:gd name="T12" fmla="*/ 629400 w 9906000"/>
                <a:gd name="T13" fmla="*/ 0 h 6858000"/>
                <a:gd name="T14" fmla="*/ 9276600 w 9906000"/>
                <a:gd name="T15" fmla="*/ 0 h 6858000"/>
                <a:gd name="T16" fmla="*/ 9906000 w 9906000"/>
                <a:gd name="T17" fmla="*/ 0 h 6858000"/>
                <a:gd name="T18" fmla="*/ 9906000 w 9906000"/>
                <a:gd name="T19" fmla="*/ 622800 h 6858000"/>
                <a:gd name="T20" fmla="*/ 9906000 w 9906000"/>
                <a:gd name="T21" fmla="*/ 6156000 h 6858000"/>
                <a:gd name="T22" fmla="*/ 9906000 w 9906000"/>
                <a:gd name="T23" fmla="*/ 6858000 h 6858000"/>
                <a:gd name="T24" fmla="*/ 9276600 w 9906000"/>
                <a:gd name="T25" fmla="*/ 6858000 h 6858000"/>
                <a:gd name="T26" fmla="*/ 629400 w 9906000"/>
                <a:gd name="T27" fmla="*/ 6858000 h 6858000"/>
                <a:gd name="T28" fmla="*/ 0 w 9906000"/>
                <a:gd name="T29" fmla="*/ 6858000 h 6858000"/>
                <a:gd name="T30" fmla="*/ 0 w 9906000"/>
                <a:gd name="T31" fmla="*/ 6858000 h 6858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lnTo>
                    <a:pt x="6294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713EED2D-2335-4DA5-AAE1-5710F0769D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:a16="http://schemas.microsoft.com/office/drawing/2014/main" id="{E29A8403-3925-4244-894E-1D8F8DBC9A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545454"/>
                </a:solidFill>
                <a:latin typeface="Trebuchet MS"/>
              </a:endParaRPr>
            </a:p>
          </p:txBody>
        </p:sp>
        <p:grpSp>
          <p:nvGrpSpPr>
            <p:cNvPr id="11" name="Gutter space">
              <a:extLst>
                <a:ext uri="{FF2B5EF4-FFF2-40B4-BE49-F238E27FC236}">
                  <a16:creationId xmlns:a16="http://schemas.microsoft.com/office/drawing/2014/main" id="{3B3BE8AE-914B-43FD-A73D-C8E3D8DA3B26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41" name="Gutter 11">
                <a:extLst>
                  <a:ext uri="{FF2B5EF4-FFF2-40B4-BE49-F238E27FC236}">
                    <a16:creationId xmlns:a16="http://schemas.microsoft.com/office/drawing/2014/main" id="{58D109E3-77A6-46A5-9249-D380174856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2" name="Gutter 10">
                <a:extLst>
                  <a:ext uri="{FF2B5EF4-FFF2-40B4-BE49-F238E27FC236}">
                    <a16:creationId xmlns:a16="http://schemas.microsoft.com/office/drawing/2014/main" id="{FA53C12A-490A-42EC-B8A2-18F703AF1E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3" name="Gutter 9">
                <a:extLst>
                  <a:ext uri="{FF2B5EF4-FFF2-40B4-BE49-F238E27FC236}">
                    <a16:creationId xmlns:a16="http://schemas.microsoft.com/office/drawing/2014/main" id="{8E3B42D4-3D8F-48D5-BD55-FFDD0AB928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4" name="Gutter 8">
                <a:extLst>
                  <a:ext uri="{FF2B5EF4-FFF2-40B4-BE49-F238E27FC236}">
                    <a16:creationId xmlns:a16="http://schemas.microsoft.com/office/drawing/2014/main" id="{67F4B29E-0F2B-4976-B1E8-0978AD6E8C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5" name="Gutter 7">
                <a:extLst>
                  <a:ext uri="{FF2B5EF4-FFF2-40B4-BE49-F238E27FC236}">
                    <a16:creationId xmlns:a16="http://schemas.microsoft.com/office/drawing/2014/main" id="{73433A05-8E3F-43CF-A347-204E2A2DF1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6" name="Gutter 6">
                <a:extLst>
                  <a:ext uri="{FF2B5EF4-FFF2-40B4-BE49-F238E27FC236}">
                    <a16:creationId xmlns:a16="http://schemas.microsoft.com/office/drawing/2014/main" id="{87FC4487-A70D-4C80-A3EE-0C1F64D0A8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7" name="Gutter 5">
                <a:extLst>
                  <a:ext uri="{FF2B5EF4-FFF2-40B4-BE49-F238E27FC236}">
                    <a16:creationId xmlns:a16="http://schemas.microsoft.com/office/drawing/2014/main" id="{F79B0E53-4827-4D10-BA6F-890EBDB0E0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8" name="Gutter 4">
                <a:extLst>
                  <a:ext uri="{FF2B5EF4-FFF2-40B4-BE49-F238E27FC236}">
                    <a16:creationId xmlns:a16="http://schemas.microsoft.com/office/drawing/2014/main" id="{C8D64C00-39EF-43D1-B381-5215998D92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9" name="Gutter 3">
                <a:extLst>
                  <a:ext uri="{FF2B5EF4-FFF2-40B4-BE49-F238E27FC236}">
                    <a16:creationId xmlns:a16="http://schemas.microsoft.com/office/drawing/2014/main" id="{5BB0BF0D-B94D-484B-9DDE-38C25E2EB3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50" name="Gutter 2">
                <a:extLst>
                  <a:ext uri="{FF2B5EF4-FFF2-40B4-BE49-F238E27FC236}">
                    <a16:creationId xmlns:a16="http://schemas.microsoft.com/office/drawing/2014/main" id="{24F07886-4DAA-4561-922F-9ABCD28F00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51" name="Gutter 1">
                <a:extLst>
                  <a:ext uri="{FF2B5EF4-FFF2-40B4-BE49-F238E27FC236}">
                    <a16:creationId xmlns:a16="http://schemas.microsoft.com/office/drawing/2014/main" id="{150E3AEE-A540-49FF-B701-AB2C7C5FF4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grpSp>
          <p:nvGrpSpPr>
            <p:cNvPr id="12" name="Baselines/Anchors">
              <a:extLst>
                <a:ext uri="{FF2B5EF4-FFF2-40B4-BE49-F238E27FC236}">
                  <a16:creationId xmlns:a16="http://schemas.microsoft.com/office/drawing/2014/main" id="{F4A0E7E2-E559-4862-9AAD-62D3AF2F4E89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21" name="Line 20">
                <a:extLst>
                  <a:ext uri="{FF2B5EF4-FFF2-40B4-BE49-F238E27FC236}">
                    <a16:creationId xmlns:a16="http://schemas.microsoft.com/office/drawing/2014/main" id="{45069574-0C50-4930-8689-A0B85CF80C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Line 19">
                <a:extLst>
                  <a:ext uri="{FF2B5EF4-FFF2-40B4-BE49-F238E27FC236}">
                    <a16:creationId xmlns:a16="http://schemas.microsoft.com/office/drawing/2014/main" id="{BA735D01-43F8-4C61-9056-296CB3A8D8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" name="Line 18">
                <a:extLst>
                  <a:ext uri="{FF2B5EF4-FFF2-40B4-BE49-F238E27FC236}">
                    <a16:creationId xmlns:a16="http://schemas.microsoft.com/office/drawing/2014/main" id="{44F8FB82-1360-465F-BEC1-30DFDD10C5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Line 17">
                <a:extLst>
                  <a:ext uri="{FF2B5EF4-FFF2-40B4-BE49-F238E27FC236}">
                    <a16:creationId xmlns:a16="http://schemas.microsoft.com/office/drawing/2014/main" id="{C54345F2-13AF-497D-8DE3-91DC9E45B0F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5" name="Line 16">
                <a:extLst>
                  <a:ext uri="{FF2B5EF4-FFF2-40B4-BE49-F238E27FC236}">
                    <a16:creationId xmlns:a16="http://schemas.microsoft.com/office/drawing/2014/main" id="{0D800CE8-3A99-4F9C-8ECD-FBE0FE41371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Line 15">
                <a:extLst>
                  <a:ext uri="{FF2B5EF4-FFF2-40B4-BE49-F238E27FC236}">
                    <a16:creationId xmlns:a16="http://schemas.microsoft.com/office/drawing/2014/main" id="{69A0533F-4BE2-4FB1-983D-E50AE47FDC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7" name="Line 14">
                <a:extLst>
                  <a:ext uri="{FF2B5EF4-FFF2-40B4-BE49-F238E27FC236}">
                    <a16:creationId xmlns:a16="http://schemas.microsoft.com/office/drawing/2014/main" id="{8B17CD02-35B1-4452-87E7-B535C481008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8" name="Line 13">
                <a:extLst>
                  <a:ext uri="{FF2B5EF4-FFF2-40B4-BE49-F238E27FC236}">
                    <a16:creationId xmlns:a16="http://schemas.microsoft.com/office/drawing/2014/main" id="{F4E69233-55C0-412B-A406-14D7862E5B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9" name="Line 12">
                <a:extLst>
                  <a:ext uri="{FF2B5EF4-FFF2-40B4-BE49-F238E27FC236}">
                    <a16:creationId xmlns:a16="http://schemas.microsoft.com/office/drawing/2014/main" id="{FA6048DA-D826-4EFC-B77B-DD2F819338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0" name="Line 11">
                <a:extLst>
                  <a:ext uri="{FF2B5EF4-FFF2-40B4-BE49-F238E27FC236}">
                    <a16:creationId xmlns:a16="http://schemas.microsoft.com/office/drawing/2014/main" id="{5D07C14E-694D-4FA4-B204-B08E19AD413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Line 10">
                <a:extLst>
                  <a:ext uri="{FF2B5EF4-FFF2-40B4-BE49-F238E27FC236}">
                    <a16:creationId xmlns:a16="http://schemas.microsoft.com/office/drawing/2014/main" id="{5189BD4D-2ECB-46BB-B3A7-42C7D96118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2" name="Line 9">
                <a:extLst>
                  <a:ext uri="{FF2B5EF4-FFF2-40B4-BE49-F238E27FC236}">
                    <a16:creationId xmlns:a16="http://schemas.microsoft.com/office/drawing/2014/main" id="{7C5AFB96-71F5-46FF-8164-5613964170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" name="Line 8">
                <a:extLst>
                  <a:ext uri="{FF2B5EF4-FFF2-40B4-BE49-F238E27FC236}">
                    <a16:creationId xmlns:a16="http://schemas.microsoft.com/office/drawing/2014/main" id="{2F591B94-0528-49D3-B9E5-B9413D1013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4" name="Line 7">
                <a:extLst>
                  <a:ext uri="{FF2B5EF4-FFF2-40B4-BE49-F238E27FC236}">
                    <a16:creationId xmlns:a16="http://schemas.microsoft.com/office/drawing/2014/main" id="{7B1D3B0D-C88F-4F46-95D5-5D2D8ED6C1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Line 6">
                <a:extLst>
                  <a:ext uri="{FF2B5EF4-FFF2-40B4-BE49-F238E27FC236}">
                    <a16:creationId xmlns:a16="http://schemas.microsoft.com/office/drawing/2014/main" id="{B45CF565-4439-4C1C-9FB6-83549CD539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Line 5">
                <a:extLst>
                  <a:ext uri="{FF2B5EF4-FFF2-40B4-BE49-F238E27FC236}">
                    <a16:creationId xmlns:a16="http://schemas.microsoft.com/office/drawing/2014/main" id="{FD8929C0-966D-4CA3-90C6-790C1BB9AFC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7" name="Line 4">
                <a:extLst>
                  <a:ext uri="{FF2B5EF4-FFF2-40B4-BE49-F238E27FC236}">
                    <a16:creationId xmlns:a16="http://schemas.microsoft.com/office/drawing/2014/main" id="{A7B75ED1-FBED-401A-9EA7-C242ABEE8E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Line 3">
                <a:extLst>
                  <a:ext uri="{FF2B5EF4-FFF2-40B4-BE49-F238E27FC236}">
                    <a16:creationId xmlns:a16="http://schemas.microsoft.com/office/drawing/2014/main" id="{87D12AF3-0B27-459E-934B-471AFD5970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" name="Line 2">
                <a:extLst>
                  <a:ext uri="{FF2B5EF4-FFF2-40B4-BE49-F238E27FC236}">
                    <a16:creationId xmlns:a16="http://schemas.microsoft.com/office/drawing/2014/main" id="{B197C494-C0CE-428E-A3A0-FF5C8BB916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" name="Line 1">
                <a:extLst>
                  <a:ext uri="{FF2B5EF4-FFF2-40B4-BE49-F238E27FC236}">
                    <a16:creationId xmlns:a16="http://schemas.microsoft.com/office/drawing/2014/main" id="{6E7F4355-58E4-40EF-9EC5-0046B4B5328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3" name="Five column measure">
              <a:extLst>
                <a:ext uri="{FF2B5EF4-FFF2-40B4-BE49-F238E27FC236}">
                  <a16:creationId xmlns:a16="http://schemas.microsoft.com/office/drawing/2014/main" id="{753E1F29-DE71-4AEE-BB0E-759F62DF41EA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6" name="Column 5">
                <a:extLst>
                  <a:ext uri="{FF2B5EF4-FFF2-40B4-BE49-F238E27FC236}">
                    <a16:creationId xmlns:a16="http://schemas.microsoft.com/office/drawing/2014/main" id="{68C90BC7-C2E9-4857-9C90-51AC7DAC7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7" name="Column 4">
                <a:extLst>
                  <a:ext uri="{FF2B5EF4-FFF2-40B4-BE49-F238E27FC236}">
                    <a16:creationId xmlns:a16="http://schemas.microsoft.com/office/drawing/2014/main" id="{54AA05B6-E976-4798-8AE8-45F3FA82D1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8" name="Column 3">
                <a:extLst>
                  <a:ext uri="{FF2B5EF4-FFF2-40B4-BE49-F238E27FC236}">
                    <a16:creationId xmlns:a16="http://schemas.microsoft.com/office/drawing/2014/main" id="{C45FB40F-987D-4973-AE16-5045C0DE2A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9" name="Column 2">
                <a:extLst>
                  <a:ext uri="{FF2B5EF4-FFF2-40B4-BE49-F238E27FC236}">
                    <a16:creationId xmlns:a16="http://schemas.microsoft.com/office/drawing/2014/main" id="{4C2B61B9-DDDE-4DCB-81B4-EB55F6F305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20" name="Column 1">
                <a:extLst>
                  <a:ext uri="{FF2B5EF4-FFF2-40B4-BE49-F238E27FC236}">
                    <a16:creationId xmlns:a16="http://schemas.microsoft.com/office/drawing/2014/main" id="{CEA0F7ED-0050-4628-A250-A2EFC43D7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sp>
          <p:nvSpPr>
            <p:cNvPr id="14" name="Live space">
              <a:extLst>
                <a:ext uri="{FF2B5EF4-FFF2-40B4-BE49-F238E27FC236}">
                  <a16:creationId xmlns:a16="http://schemas.microsoft.com/office/drawing/2014/main" id="{E28518BA-44D6-4FDC-A665-9D5E1E460AE3}"/>
                </a:ext>
              </a:extLst>
            </p:cNvPr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rgbClr val="545454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A6971450-939D-4FFD-B888-4D7BA0A973EE}"/>
                </a:ext>
              </a:extLst>
            </p:cNvPr>
            <p:cNvSpPr txBox="1">
              <a:spLocks noChangeAspect="1"/>
            </p:cNvSpPr>
            <p:nvPr userDrawn="1"/>
          </p:nvSpPr>
          <p:spPr bwMode="auto">
            <a:xfrm>
              <a:off x="629444" y="6099175"/>
              <a:ext cx="7283748" cy="4619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lang="en-US" altLang="en-US" sz="1000">
                <a:solidFill>
                  <a:srgbClr val="A6A6A6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2" name="Date Placeholder 1">
            <a:extLst>
              <a:ext uri="{FF2B5EF4-FFF2-40B4-BE49-F238E27FC236}">
                <a16:creationId xmlns:a16="http://schemas.microsoft.com/office/drawing/2014/main" id="{87A90D16-90F1-43F8-9B4A-1098FDF1C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D98E1BE-311C-430B-A59E-9ED7CA28FAC8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332786"/>
      </p:ext>
    </p:extLst>
  </p:cSld>
  <p:clrMapOvr>
    <a:masterClrMapping/>
  </p:clrMapOvr>
  <p:transition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nelWhite">
            <a:extLst>
              <a:ext uri="{FF2B5EF4-FFF2-40B4-BE49-F238E27FC236}">
                <a16:creationId xmlns:a16="http://schemas.microsoft.com/office/drawing/2014/main" id="{7B6AC70E-6640-4F41-9751-54D52EC5CD6D}"/>
              </a:ext>
            </a:extLst>
          </p:cNvPr>
          <p:cNvSpPr/>
          <p:nvPr userDrawn="1"/>
        </p:nvSpPr>
        <p:spPr>
          <a:xfrm>
            <a:off x="0" y="5278438"/>
            <a:ext cx="12192000" cy="157956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Shadow">
            <a:extLst>
              <a:ext uri="{FF2B5EF4-FFF2-40B4-BE49-F238E27FC236}">
                <a16:creationId xmlns:a16="http://schemas.microsoft.com/office/drawing/2014/main" id="{63A6A47B-E56E-4021-894E-D6549C8281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" t="102" r="8742" b="1730"/>
          <a:stretch>
            <a:fillRect/>
          </a:stretch>
        </p:blipFill>
        <p:spPr bwMode="auto">
          <a:xfrm>
            <a:off x="3751263" y="5094288"/>
            <a:ext cx="8440737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:a16="http://schemas.microsoft.com/office/drawing/2014/main" id="{1CE5F9E3-2B92-4998-99AC-7FEFC71339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404" r="38" b="24950"/>
          <a:stretch>
            <a:fillRect/>
          </a:stretch>
        </p:blipFill>
        <p:spPr bwMode="auto">
          <a:xfrm>
            <a:off x="-17463" y="0"/>
            <a:ext cx="12218988" cy="52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>
            <a:extLst>
              <a:ext uri="{FF2B5EF4-FFF2-40B4-BE49-F238E27FC236}">
                <a16:creationId xmlns:a16="http://schemas.microsoft.com/office/drawing/2014/main" id="{FE5D9A2B-3192-45E6-B3F0-B4D651A52E52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71525" y="1509713"/>
            <a:ext cx="7913688" cy="4646612"/>
          </a:xfrm>
          <a:prstGeom prst="rect">
            <a:avLst/>
          </a:prstGeom>
          <a:gradFill rotWithShape="0">
            <a:gsLst>
              <a:gs pos="0">
                <a:srgbClr val="071117"/>
              </a:gs>
              <a:gs pos="100000">
                <a:srgbClr val="295E7E">
                  <a:alpha val="89999"/>
                </a:srgbClr>
              </a:gs>
            </a:gsLst>
            <a:lin ang="8400000"/>
          </a:gra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1000"/>
              </a:spcAft>
              <a:defRPr/>
            </a:pPr>
            <a:endParaRPr lang="en-US" alt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2" descr="Image result for министерство труда казахстана logo">
            <a:extLst>
              <a:ext uri="{FF2B5EF4-FFF2-40B4-BE49-F238E27FC236}">
                <a16:creationId xmlns:a16="http://schemas.microsoft.com/office/drawing/2014/main" id="{E8509FBA-939B-4BAE-B8E2-325A4CC0DCB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701800"/>
            <a:ext cx="901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4">
            <a:extLst>
              <a:ext uri="{FF2B5EF4-FFF2-40B4-BE49-F238E27FC236}">
                <a16:creationId xmlns:a16="http://schemas.microsoft.com/office/drawing/2014/main" id="{68D97904-D03C-437A-9C1F-B52FD2681A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Министерство труда и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Социальной защиты населения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Республики Казахстан</a:t>
            </a:r>
            <a:endParaRPr lang="en-US" altLang="en-US" sz="1400" b="1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4" name="Logo Placeholder"/>
          <p:cNvSpPr>
            <a:spLocks noGrp="1"/>
          </p:cNvSpPr>
          <p:nvPr>
            <p:ph type="pic" sz="quarter" idx="13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2" name="Title 1"/>
          <p:cNvSpPr>
            <a:spLocks noGrp="1"/>
          </p:cNvSpPr>
          <p:nvPr>
            <p:ph type="ctrTitle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009394"/>
      </p:ext>
    </p:extLst>
  </p:cSld>
  <p:clrMapOvr>
    <a:masterClrMapping/>
  </p:clrMapOvr>
  <p:transition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27F262FE-A6F5-4225-AEBC-63833A061F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2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05154" name="Object 1" hidden="1">
                        <a:extLst>
                          <a:ext uri="{FF2B5EF4-FFF2-40B4-BE49-F238E27FC236}">
                            <a16:creationId xmlns:a16="http://schemas.microsoft.com/office/drawing/2014/main" id="{B7130375-08FC-4F2E-A62A-DB4A2E173EB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5E58D822-C7ED-4546-92E8-EEB31D54C28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EF6731A-3C8E-482D-B667-F1297F360BB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BC419626-7AA9-484E-88DD-028A8D8DF604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56">
            <a:extLst>
              <a:ext uri="{FF2B5EF4-FFF2-40B4-BE49-F238E27FC236}">
                <a16:creationId xmlns:a16="http://schemas.microsoft.com/office/drawing/2014/main" id="{0A45AF4D-9FCF-4F84-A77B-510491D4BF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1A958B7-DE6C-4712-8698-3E2D15FACB23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414807"/>
      </p:ext>
    </p:extLst>
  </p:cSld>
  <p:clrMapOvr>
    <a:masterClrMapping/>
  </p:clrMapOvr>
  <p:transition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5200A622-65D6-4452-A453-0B9DAC7F58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4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06178" name="Object 1" hidden="1">
                        <a:extLst>
                          <a:ext uri="{FF2B5EF4-FFF2-40B4-BE49-F238E27FC236}">
                            <a16:creationId xmlns:a16="http://schemas.microsoft.com/office/drawing/2014/main" id="{CF586F08-5BDB-4F32-BF36-AF49F1DB6A6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age">
            <a:extLst>
              <a:ext uri="{FF2B5EF4-FFF2-40B4-BE49-F238E27FC236}">
                <a16:creationId xmlns:a16="http://schemas.microsoft.com/office/drawing/2014/main" id="{499C89CF-D0B7-4DDB-86C2-93EB0F5F15E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4EB55D0-6937-4BAC-BC92-BCE1BB83ECA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PanelGray">
            <a:extLst>
              <a:ext uri="{FF2B5EF4-FFF2-40B4-BE49-F238E27FC236}">
                <a16:creationId xmlns:a16="http://schemas.microsoft.com/office/drawing/2014/main" id="{45ACB61F-3174-456A-8F8F-0447D907E70A}"/>
              </a:ext>
            </a:extLst>
          </p:cNvPr>
          <p:cNvSpPr/>
          <p:nvPr userDrawn="1"/>
        </p:nvSpPr>
        <p:spPr bwMode="white">
          <a:xfrm>
            <a:off x="0" y="-1588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400BE026-515D-496F-9393-B0D35EFAE324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775385" y="2158989"/>
            <a:ext cx="3640123" cy="5416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/>
          </p:nvPr>
        </p:nvSpPr>
        <p:spPr>
          <a:xfrm>
            <a:off x="775385" y="1227050"/>
            <a:ext cx="3640123" cy="66479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7279D24-A4D6-4701-B21B-0B7E2B8E55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70BF241-BEBC-47BC-AC9F-7C0F195A071C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642416"/>
      </p:ext>
    </p:extLst>
  </p:cSld>
  <p:clrMapOvr>
    <a:masterClrMapping/>
  </p:clrMapOvr>
  <p:transition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B1F37A11-1C5E-4ED1-9324-BE3FCF721D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6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07202" name="Object 1" hidden="1">
                        <a:extLst>
                          <a:ext uri="{FF2B5EF4-FFF2-40B4-BE49-F238E27FC236}">
                            <a16:creationId xmlns:a16="http://schemas.microsoft.com/office/drawing/2014/main" id="{32B14434-BFA0-45BD-9C84-7CE82130E71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BA375231-4C78-4739-86DE-A4DD346D74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D27E521-5E82-4804-B0AD-0D8237C4843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:a16="http://schemas.microsoft.com/office/drawing/2014/main" id="{1081190A-776E-44DA-A0E4-6D18EA41227A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090613" y="1457325"/>
            <a:ext cx="1127125" cy="91916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2B8288C2-8097-4468-8B57-5454199B9E24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3538" cy="3201026"/>
          </a:xfrm>
          <a:prstGeom prst="rect">
            <a:avLst/>
          </a:prstGeom>
          <a:ln w="9525">
            <a:noFill/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8">
            <a:extLst>
              <a:ext uri="{FF2B5EF4-FFF2-40B4-BE49-F238E27FC236}">
                <a16:creationId xmlns:a16="http://schemas.microsoft.com/office/drawing/2014/main" id="{4AEFF009-F652-4494-9291-886023AFA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A33ED98-64F3-45B9-9313-7FADB8E800DB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85088"/>
      </p:ext>
    </p:extLst>
  </p:cSld>
  <p:clrMapOvr>
    <a:masterClrMapping/>
  </p:clrMapOvr>
  <p:transition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CD815DE6-2E28-427B-854E-7505035FE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9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308226" name="Object 1" hidden="1">
                        <a:extLst>
                          <a:ext uri="{FF2B5EF4-FFF2-40B4-BE49-F238E27FC236}">
                            <a16:creationId xmlns:a16="http://schemas.microsoft.com/office/drawing/2014/main" id="{B3966A29-DAED-463A-9BB6-6CF70AA5D60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048EE352-2C7E-4C8B-A205-C796B0391BA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5B2A2F0-B9AC-45BC-BB54-F9FE6172D42A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5" name="Line">
            <a:extLst>
              <a:ext uri="{FF2B5EF4-FFF2-40B4-BE49-F238E27FC236}">
                <a16:creationId xmlns:a16="http://schemas.microsoft.com/office/drawing/2014/main" id="{7DC2CA27-0EB1-4F51-A241-FEF089D72364}"/>
              </a:ext>
            </a:extLst>
          </p:cNvPr>
          <p:cNvCxnSpPr/>
          <p:nvPr userDrawn="1"/>
        </p:nvCxnSpPr>
        <p:spPr bwMode="white">
          <a:xfrm>
            <a:off x="774700" y="3683000"/>
            <a:ext cx="1141888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8">
            <a:extLst>
              <a:ext uri="{FF2B5EF4-FFF2-40B4-BE49-F238E27FC236}">
                <a16:creationId xmlns:a16="http://schemas.microsoft.com/office/drawing/2014/main" id="{055A9DDB-94FC-4DD6-B413-0D59463FA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3F0724C-A784-4B0F-A464-14266D1C6E9B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813706"/>
      </p:ext>
    </p:extLst>
  </p:cSld>
  <p:clrMapOvr>
    <a:masterClrMapping/>
  </p:clrMapOvr>
  <p:transition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227C714B-E540-4168-8D77-2337AEA0C89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EB9471C1-E604-4EC6-86A7-E426BFD99A42}"/>
              </a:ext>
            </a:extLst>
          </p:cNvPr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0547E707-BA0E-481B-A116-3168645CD4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EDFB199-C56E-4DBB-981A-F96CEA1E234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40C109B2-7B00-46DA-BBA5-071174DD5B3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74FEB737-A364-4A80-9302-65BE71B1A4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B116772-DBF4-4CA6-887B-3CDD0317EC64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922254"/>
      </p:ext>
    </p:extLst>
  </p:cSld>
  <p:clrMapOvr>
    <a:masterClrMapping/>
  </p:clrMapOvr>
  <p:transition>
    <p:fad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724EFEC1-4A6C-4AC5-8842-E0E7B29E836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:a16="http://schemas.microsoft.com/office/drawing/2014/main" id="{2A906F50-98BB-4216-B687-76643D158E1C}"/>
              </a:ext>
            </a:extLst>
          </p:cNvPr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C1E50C14-A7B9-4B8F-9D28-B86FB791775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C09BDC4-D9B5-4802-AFE8-A580E307EC3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B6577234-D9DA-4238-B06C-95CB2F7D766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84150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3B6A612F-1A2F-4638-8111-FA95E37A00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F0A595B-B237-418A-A80B-B8DB019A0F09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742611"/>
      </p:ext>
    </p:extLst>
  </p:cSld>
  <p:clrMapOvr>
    <a:masterClrMapping/>
  </p:clrMapOvr>
  <p:transition>
    <p:fade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19E1A20D-570D-458C-8445-6F4FCAD9BDA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78532F6-8552-495C-86D8-378ACAE1E02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Shadow">
            <a:extLst>
              <a:ext uri="{FF2B5EF4-FFF2-40B4-BE49-F238E27FC236}">
                <a16:creationId xmlns:a16="http://schemas.microsoft.com/office/drawing/2014/main" id="{AADC938F-26F9-4D53-9E6A-1941CB2D67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8961438" y="0"/>
            <a:ext cx="51276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:a16="http://schemas.microsoft.com/office/drawing/2014/main" id="{A6794344-D18A-48C2-9F3F-250F07D450F9}"/>
              </a:ext>
            </a:extLst>
          </p:cNvPr>
          <p:cNvSpPr/>
          <p:nvPr userDrawn="1"/>
        </p:nvSpPr>
        <p:spPr bwMode="white">
          <a:xfrm>
            <a:off x="0" y="0"/>
            <a:ext cx="89677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2E9AC85C-DF63-46EB-B477-16AF785E7227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790968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9694B85E-DACC-4BD9-8C0F-E10961D3E7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E953A124-2EA5-48CF-95B7-290FE9EC936B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48258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279D5C3B-7F18-49A9-BBBA-FC08E05D8F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6626" name="Object 1" hidden="1">
                        <a:extLst>
                          <a:ext uri="{FF2B5EF4-FFF2-40B4-BE49-F238E27FC236}">
                            <a16:creationId xmlns:a16="http://schemas.microsoft.com/office/drawing/2014/main" id="{096BF878-0550-4F82-AAC1-7DF1851F5F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3EC43D7C-2B6D-4A44-9626-945E0AC7195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47F78B4-6E8C-4DBE-B8CE-48643B492ED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:a16="http://schemas.microsoft.com/office/drawing/2014/main" id="{F77B5830-2DCF-4A6B-B918-C57E6AEC4EBE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774700" y="625475"/>
            <a:ext cx="1130300" cy="917575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E3EF6BA6-70DD-4A5F-9734-348C9D911F66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22A2DF80-BB0E-4B3C-B4EF-563241CCCF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0331B62-FF49-408F-BD8C-3127236D4150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635487"/>
      </p:ext>
    </p:extLst>
  </p:cSld>
  <p:clrMapOvr>
    <a:masterClrMapping/>
  </p:clrMapOvr>
  <p:transition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BAC70621-3C8A-4701-AC64-B91A10DC4B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:a16="http://schemas.microsoft.com/office/drawing/2014/main" id="{76936E49-9B1F-49EF-A5ED-A90D934A876A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3DFC6926-C883-43A9-8C68-1160A666C82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BA5CFEB-E5BA-450C-8479-E215740F668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E38A7120-8C00-4E9F-B444-2923EA49C23F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4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F1BE10EE-9044-42B1-B0EA-ED23074BA2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BDCF48A-993B-4900-9CAA-48D42BD0A0E0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779453"/>
      </p:ext>
    </p:extLst>
  </p:cSld>
  <p:clrMapOvr>
    <a:masterClrMapping/>
  </p:clrMapOvr>
  <p:transition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:a16="http://schemas.microsoft.com/office/drawing/2014/main" id="{6FCE0692-2F88-48FA-AC6A-7A5A29525B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:a16="http://schemas.microsoft.com/office/drawing/2014/main" id="{06D03566-2D90-4708-B830-AB72D0D6C434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:a16="http://schemas.microsoft.com/office/drawing/2014/main" id="{825B63BF-4087-4ABB-9D3B-82E6F4280DE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01AA0B9-011C-41E3-9367-28C6B9ED08B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2C98E1A7-B30A-41EF-B94D-F6D0C781D89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4271262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11FBDCCD-3826-4B4F-8ACA-548AF0E0756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32572BA-9685-4B78-A1C0-D219BF03218C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353409"/>
      </p:ext>
    </p:extLst>
  </p:cSld>
  <p:clrMapOvr>
    <a:masterClrMapping/>
  </p:clrMapOvr>
  <p:transition>
    <p:fade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:a16="http://schemas.microsoft.com/office/drawing/2014/main" id="{1B401C37-B9DA-449A-84B6-9109F9D91D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:a16="http://schemas.microsoft.com/office/drawing/2014/main" id="{2064E6DF-3D61-4E64-A9C1-72B44822A61A}"/>
              </a:ext>
            </a:extLst>
          </p:cNvPr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:a16="http://schemas.microsoft.com/office/drawing/2014/main" id="{D12B70AD-D0CF-4DDE-B023-3A3CBF3711B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9372E93-6F76-4544-9B6F-2B8ECB1DA11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DC7E9C67-9B23-423A-B595-A0F38A3D359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 bwMode="black">
          <a:xfrm>
            <a:off x="775385" y="1785600"/>
            <a:ext cx="60878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5D667E0A-2921-4FB2-B29A-D7B2AC1FEFD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523550D-CA8C-4251-86D8-B0D2E0459E30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894749"/>
      </p:ext>
    </p:extLst>
  </p:cSld>
  <p:clrMapOvr>
    <a:masterClrMapping/>
  </p:clrMapOvr>
  <p:transition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5FB77DA7-6505-4B49-AEC9-A5A0DEE3605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:a16="http://schemas.microsoft.com/office/drawing/2014/main" id="{D29FDB6F-C07E-4055-8058-E5AF73D8CDBE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70553376-DABB-40E3-92A6-90E62A4938A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76F1F1E-82B2-40C2-AE26-9881AB3A782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D3A872EA-F9A3-4BDE-85AD-8D37635CABE6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A48518BE-E0B7-4F18-ABFF-65F5F5FBC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03F9B8D-B386-434F-BD6F-7B438FE04190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3984459"/>
      </p:ext>
    </p:extLst>
  </p:cSld>
  <p:clrMapOvr>
    <a:masterClrMapping/>
  </p:clrMapOvr>
  <p:transition>
    <p:fade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:a16="http://schemas.microsoft.com/office/drawing/2014/main" id="{882EFE1A-0E44-489C-86D3-7A6623F5E9E2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212F645D-CED0-41F5-B285-AD5C0140FC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37F5436-4FBA-48B7-9685-94C02E0D500A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FCD8D33F-3C16-4769-8116-AC71144B5F9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10">
            <a:extLst>
              <a:ext uri="{FF2B5EF4-FFF2-40B4-BE49-F238E27FC236}">
                <a16:creationId xmlns:a16="http://schemas.microsoft.com/office/drawing/2014/main" id="{453D7253-662A-41C7-99B2-BDC35F081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5AAC3DF5-2756-47C4-90B0-97CFC513C8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A09497D-D373-4CAD-B8CC-E3E012378A7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98589"/>
      </p:ext>
    </p:extLst>
  </p:cSld>
  <p:clrMapOvr>
    <a:masterClrMapping/>
  </p:clrMapOvr>
  <p:transition>
    <p:fad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6E6E98C7-765D-4B66-BF6A-1A8D3A77EE4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613" y="3395663"/>
            <a:ext cx="15970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:a16="http://schemas.microsoft.com/office/drawing/2014/main" id="{7F324E9B-5D1D-4014-AD49-DB00CFDADCF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BF3BCF3C-A6A7-4877-9EAD-3628FEDF959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F4EA2DC-E369-4E79-B707-82B574AEA21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A50273BD-D757-4CBA-A1B0-7C49FBE3EAA7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21186FB3-9053-4E92-B6AC-198ABF36F7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3B76BC6-B6AD-41A6-8F32-FB60CF03E56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674575"/>
      </p:ext>
    </p:extLst>
  </p:cSld>
  <p:clrMapOvr>
    <a:masterClrMapping/>
  </p:clrMapOvr>
  <p:transition>
    <p:fad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:a16="http://schemas.microsoft.com/office/drawing/2014/main" id="{7BBA5FDD-DE62-4F06-A7B0-A475FCFFCAC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9C94199D-04E0-4293-9D24-9CE1F54314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147BA60-9853-4EB8-BBF3-EA29C4BECE9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23C0132F-DECB-4ED1-8DA6-3ED5769FB530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94D53007-4D5A-49CF-8D02-1025BD6A67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13146C9-D5A5-4114-B2EA-D217F99FB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A18B5BE-638D-4484-9972-307F49DDEBAC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9802789"/>
      </p:ext>
    </p:extLst>
  </p:cSld>
  <p:clrMapOvr>
    <a:masterClrMapping/>
  </p:clrMapOvr>
  <p:transition>
    <p:fade/>
  </p:transition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6364DA8B-5809-4A5F-B1FD-320038B673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1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19490" name="Object 1" hidden="1">
                        <a:extLst>
                          <a:ext uri="{FF2B5EF4-FFF2-40B4-BE49-F238E27FC236}">
                            <a16:creationId xmlns:a16="http://schemas.microsoft.com/office/drawing/2014/main" id="{3509154B-F0C2-4FCE-8F2C-77D9F4944C9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Shadow">
            <a:extLst>
              <a:ext uri="{FF2B5EF4-FFF2-40B4-BE49-F238E27FC236}">
                <a16:creationId xmlns:a16="http://schemas.microsoft.com/office/drawing/2014/main" id="{9AA5EB07-76AC-4115-AF0D-EDC2A68288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350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rrowPanelWhite">
            <a:extLst>
              <a:ext uri="{FF2B5EF4-FFF2-40B4-BE49-F238E27FC236}">
                <a16:creationId xmlns:a16="http://schemas.microsoft.com/office/drawing/2014/main" id="{0C3F8D14-653F-4AF0-9865-4D33A7AC4DA2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>
            <a:extLst>
              <a:ext uri="{FF2B5EF4-FFF2-40B4-BE49-F238E27FC236}">
                <a16:creationId xmlns:a16="http://schemas.microsoft.com/office/drawing/2014/main" id="{643AFC6E-1844-4D0A-8607-944B61019D8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F8790CC-A9C5-4A0E-8C53-F2D6A04EB9AD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FooterSimple" hidden="1">
            <a:extLst>
              <a:ext uri="{FF2B5EF4-FFF2-40B4-BE49-F238E27FC236}">
                <a16:creationId xmlns:a16="http://schemas.microsoft.com/office/drawing/2014/main" id="{1575C8AF-ABFE-43D8-94AF-432D2FC6830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09999E0D-244E-4B31-BC6A-FE317E048B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1B2CC92-F90C-475C-9D61-AF1B8EE32DD4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3980"/>
      </p:ext>
    </p:extLst>
  </p:cSld>
  <p:clrMapOvr>
    <a:masterClrMapping/>
  </p:clrMapOvr>
  <p:transition>
    <p:fade/>
  </p:transition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PanelWhite">
            <a:extLst>
              <a:ext uri="{FF2B5EF4-FFF2-40B4-BE49-F238E27FC236}">
                <a16:creationId xmlns:a16="http://schemas.microsoft.com/office/drawing/2014/main" id="{4F3CEA1A-AEC6-46D5-9F70-50C08DAB991D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48CDE3E9-2812-4B7F-8C54-1D304014F79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36EAB18-6B63-4FBF-96EC-443C88F4A18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778F792B-B8F2-4806-B0C9-6FCA8DCE869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10">
            <a:extLst>
              <a:ext uri="{FF2B5EF4-FFF2-40B4-BE49-F238E27FC236}">
                <a16:creationId xmlns:a16="http://schemas.microsoft.com/office/drawing/2014/main" id="{EB8EC796-758C-4E65-8418-84AD290D8B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7CBF6EF-4454-4662-83E7-DD609C030F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B2EBBC6-D2FD-4386-A3D6-94C7C1C1D7B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1794773"/>
      </p:ext>
    </p:extLst>
  </p:cSld>
  <p:clrMapOvr>
    <a:masterClrMapping/>
  </p:clrMapOvr>
  <p:transition>
    <p:fade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71774F95-E5A2-44C6-831D-C72B91D8B92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138" y="3594100"/>
            <a:ext cx="1679575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:a16="http://schemas.microsoft.com/office/drawing/2014/main" id="{37EF4A25-B29F-445A-BCE8-6391335712FE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F9810903-B771-4BE2-A5CF-5FB6D6CE52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B5E591A-4A31-41A8-A6F3-D66D955F077C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21701EC5-96E1-44EA-BE6E-DF5D29398F6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E0D21D05-D8C4-44E0-BB73-F46BCE2709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2F8F838-CC7D-4888-B241-9828C7875C6E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97904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:a16="http://schemas.microsoft.com/office/drawing/2014/main" id="{BA7AD7EE-0D7D-4619-BEF0-46BBC0C4D1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Bubble">
            <a:extLst>
              <a:ext uri="{FF2B5EF4-FFF2-40B4-BE49-F238E27FC236}">
                <a16:creationId xmlns:a16="http://schemas.microsoft.com/office/drawing/2014/main" id="{DABDCF1B-D5FA-4DD0-B220-5418AF9BE66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8E59A22-4BFE-4A2A-962A-22D099F872F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" name="Right Triangle 55">
              <a:extLst>
                <a:ext uri="{FF2B5EF4-FFF2-40B4-BE49-F238E27FC236}">
                  <a16:creationId xmlns:a16="http://schemas.microsoft.com/office/drawing/2014/main" id="{AD38CE4E-6492-44C6-B95B-BD1B00A084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6" name="Page">
            <a:extLst>
              <a:ext uri="{FF2B5EF4-FFF2-40B4-BE49-F238E27FC236}">
                <a16:creationId xmlns:a16="http://schemas.microsoft.com/office/drawing/2014/main" id="{AC321CD1-EB27-4B7E-BF22-2230DD40B30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F97E3D1-2485-4F9C-B45C-18BA9CFB5B2E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2755699"/>
      </p:ext>
    </p:extLst>
  </p:cSld>
  <p:clrMapOvr>
    <a:masterClrMapping/>
  </p:clrMapOvr>
  <p:transition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:a16="http://schemas.microsoft.com/office/drawing/2014/main" id="{2AD8E2BB-75B9-4CC4-A19F-D936DEDAF938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83B9D946-B42A-4613-A5B3-39C2C1F1EB2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2286948-194B-43BA-AF86-7AEB82B1F2A8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FCFA2BF4-CE40-49EE-B264-E95DE29C446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6" name="Picture 17">
            <a:extLst>
              <a:ext uri="{FF2B5EF4-FFF2-40B4-BE49-F238E27FC236}">
                <a16:creationId xmlns:a16="http://schemas.microsoft.com/office/drawing/2014/main" id="{27400F1B-1735-4421-8B6A-BA7CBFB771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E81D05CC-D37C-4580-B94A-D8F845EA17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E5EEA99-7BE4-42C4-9D91-7C1C76B67DFC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5087673"/>
      </p:ext>
    </p:extLst>
  </p:cSld>
  <p:clrMapOvr>
    <a:masterClrMapping/>
  </p:clrMapOvr>
  <p:transition>
    <p:fade/>
  </p:transition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A8041E9E-8C7E-4200-A74F-99F2492C22A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5E3B69A-E00E-4C43-8F43-688CC55C528D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F18FD13B-D6EE-4648-9BBB-EE7A20F4B35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2D5187F-AFDF-4F58-8AE6-388C36134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4417009-A66E-4481-AE8A-75AC2D429B75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029405"/>
      </p:ext>
    </p:extLst>
  </p:cSld>
  <p:clrMapOvr>
    <a:masterClrMapping/>
  </p:clrMapOvr>
  <p:transition>
    <p:fade/>
  </p:transition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EC07C937-D0B3-4B91-8757-F64F3C59DD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4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24610" name="Object 1" hidden="1">
                        <a:extLst>
                          <a:ext uri="{FF2B5EF4-FFF2-40B4-BE49-F238E27FC236}">
                            <a16:creationId xmlns:a16="http://schemas.microsoft.com/office/drawing/2014/main" id="{DA86C08A-175C-43BF-9542-E88552911E4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70E59269-FFB9-40A1-B6A5-DA209AF1150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69578E6-DE0B-4C8D-9AFF-F1D927B571E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:a16="http://schemas.microsoft.com/office/drawing/2014/main" id="{179EC76E-FA69-4DE9-B0F8-B5AB4A65E338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774700" y="622300"/>
            <a:ext cx="1130300" cy="919163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17874B16-A83D-4806-B059-1F36330A705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E0EAA436-9282-4CC1-9B7F-20877E4B94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95CBC6B-4B9A-4B61-8743-D6F717AEAF30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690203"/>
      </p:ext>
    </p:extLst>
  </p:cSld>
  <p:clrMapOvr>
    <a:masterClrMapping/>
  </p:clrMapOvr>
  <p:transition>
    <p:fade/>
  </p:transition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:a16="http://schemas.microsoft.com/office/drawing/2014/main" id="{D7BAEF0A-7561-4D26-9C9E-DE751149DD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age">
            <a:extLst>
              <a:ext uri="{FF2B5EF4-FFF2-40B4-BE49-F238E27FC236}">
                <a16:creationId xmlns:a16="http://schemas.microsoft.com/office/drawing/2014/main" id="{DEF1C2BD-6BF6-47B9-B3AC-EA9993A36E1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C695147-DF1E-4BE8-A2E0-F631F4CDF87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" name="Bubble">
            <a:extLst>
              <a:ext uri="{FF2B5EF4-FFF2-40B4-BE49-F238E27FC236}">
                <a16:creationId xmlns:a16="http://schemas.microsoft.com/office/drawing/2014/main" id="{44C0F814-190A-4A82-85F8-D0F87C41681D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5" name="Rectangle 9">
              <a:extLst>
                <a:ext uri="{FF2B5EF4-FFF2-40B4-BE49-F238E27FC236}">
                  <a16:creationId xmlns:a16="http://schemas.microsoft.com/office/drawing/2014/main" id="{071F2596-B959-43F7-928B-AD7C24D31A3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6" name="Right Triangle 10">
              <a:extLst>
                <a:ext uri="{FF2B5EF4-FFF2-40B4-BE49-F238E27FC236}">
                  <a16:creationId xmlns:a16="http://schemas.microsoft.com/office/drawing/2014/main" id="{357C513A-D745-4994-AFE7-EF025E2973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D1FB9DC5-A0DE-4899-BCC6-052E04EBED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F67367B-CF66-403D-B02B-38D55FDEBDC9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790274"/>
      </p:ext>
    </p:extLst>
  </p:cSld>
  <p:clrMapOvr>
    <a:masterClrMapping/>
  </p:clrMapOvr>
  <p:transition>
    <p:fade/>
  </p:transition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0671E0D0-B97F-4687-BA14-FED65144069A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92DE7D9-DFB9-496A-8311-B9B20DFB8F5F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18C105BF-08C1-4E92-A3E8-A5100138AF1A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2">
            <a:extLst>
              <a:ext uri="{FF2B5EF4-FFF2-40B4-BE49-F238E27FC236}">
                <a16:creationId xmlns:a16="http://schemas.microsoft.com/office/drawing/2014/main" id="{042DAB66-2F7D-47AE-BEDF-7C118640C8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75B70B5-9CB9-4CC1-8752-E448B945F5FC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478254"/>
      </p:ext>
    </p:extLst>
  </p:cSld>
  <p:clrMapOvr>
    <a:masterClrMapping/>
  </p:clrMapOvr>
  <p:transition>
    <p:fade/>
  </p:transition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:a16="http://schemas.microsoft.com/office/drawing/2014/main" id="{13AC7B91-444E-4D86-B439-8B2447F4FFE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ArrowPanelWhite">
            <a:extLst>
              <a:ext uri="{FF2B5EF4-FFF2-40B4-BE49-F238E27FC236}">
                <a16:creationId xmlns:a16="http://schemas.microsoft.com/office/drawing/2014/main" id="{03209067-0EF3-4DE5-9048-1DF0236ED019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670D3348-BC09-4A39-8BCA-FAA0BA70F41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B07D62B-5487-40FB-9DAA-23BD74EC760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extBox 12">
            <a:extLst>
              <a:ext uri="{FF2B5EF4-FFF2-40B4-BE49-F238E27FC236}">
                <a16:creationId xmlns:a16="http://schemas.microsoft.com/office/drawing/2014/main" id="{CB068897-7887-4767-A69B-C9E1B16BBB7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2000" y="2711450"/>
            <a:ext cx="2738438" cy="1435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ts val="700"/>
              </a:spcAft>
              <a:defRPr/>
            </a:pPr>
            <a:r>
              <a:rPr lang="en-US" altLang="en-US" sz="4400">
                <a:solidFill>
                  <a:srgbClr val="295E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61813399-B56E-4E95-A9E8-5C932E9DF30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197D0102-0A0C-4E37-9B7F-02F41C72BA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4A0F464-ECD6-49B1-A986-0CCDB0693FFD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461610"/>
      </p:ext>
    </p:extLst>
  </p:cSld>
  <p:clrMapOvr>
    <a:masterClrMapping/>
  </p:clrMapOvr>
  <p:transition>
    <p:fade/>
  </p:transition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>
            <a:extLst>
              <a:ext uri="{FF2B5EF4-FFF2-40B4-BE49-F238E27FC236}">
                <a16:creationId xmlns:a16="http://schemas.microsoft.com/office/drawing/2014/main" id="{DEAFA031-4750-4E97-B6F9-AF1A6D423B7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8750A1B-97C8-44BB-A276-0C3203ECFFE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FooterSimple" hidden="1">
            <a:extLst>
              <a:ext uri="{FF2B5EF4-FFF2-40B4-BE49-F238E27FC236}">
                <a16:creationId xmlns:a16="http://schemas.microsoft.com/office/drawing/2014/main" id="{0E137C31-AECE-4C2F-B7C3-659D83E0EBA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Date Placeholder 4">
            <a:extLst>
              <a:ext uri="{FF2B5EF4-FFF2-40B4-BE49-F238E27FC236}">
                <a16:creationId xmlns:a16="http://schemas.microsoft.com/office/drawing/2014/main" id="{4305C53D-170F-4D16-B59F-A7E7FF8349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A5A336C-5D4F-47C6-AFE7-0164403D9AC9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7251336"/>
      </p:ext>
    </p:extLst>
  </p:cSld>
  <p:clrMapOvr>
    <a:masterClrMapping/>
  </p:clrMapOvr>
  <p:transition>
    <p:fade/>
  </p:transition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7F9C3CB-DCDB-4244-9441-8BB9FA2A0C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6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29730" name="Object 1" hidden="1">
                        <a:extLst>
                          <a:ext uri="{FF2B5EF4-FFF2-40B4-BE49-F238E27FC236}">
                            <a16:creationId xmlns:a16="http://schemas.microsoft.com/office/drawing/2014/main" id="{61E51CBD-5737-4110-AECF-C2B8ADC4007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3721D759-F253-4879-A1E4-1F7A7A291D9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953261F-8DD5-4870-B972-ED9CF5531F9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C1F7DDD7-E3D0-42C7-AA2F-8A33EEF37AC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Date Placeholder 6">
            <a:extLst>
              <a:ext uri="{FF2B5EF4-FFF2-40B4-BE49-F238E27FC236}">
                <a16:creationId xmlns:a16="http://schemas.microsoft.com/office/drawing/2014/main" id="{C60E06B7-57EE-41D5-8AAE-702CA63702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1D5B741-A39D-4B96-B4F4-896618C30B5C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47028"/>
      </p:ext>
    </p:extLst>
  </p:cSld>
  <p:clrMapOvr>
    <a:masterClrMapping/>
  </p:clrMapOvr>
  <p:transition>
    <p:fade/>
  </p:transition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716D997-921C-40BB-8380-8283612EB0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8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30754" name="Object 1" hidden="1">
                        <a:extLst>
                          <a:ext uri="{FF2B5EF4-FFF2-40B4-BE49-F238E27FC236}">
                            <a16:creationId xmlns:a16="http://schemas.microsoft.com/office/drawing/2014/main" id="{C9810D32-2E63-4DE3-A8BA-1231B839FD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4D3B4181-F8B0-412A-9A63-EDF21AD5789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5F1BD1D-DEC8-444A-A1D4-40FB96350EE8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B0BC0ECE-48FE-45A5-9C6A-7D5F80D9D83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7512624"/>
      </p:ext>
    </p:extLst>
  </p:cSld>
  <p:clrMapOvr>
    <a:masterClrMapping/>
  </p:clrMapOvr>
  <p:transition>
    <p:fade/>
  </p:transition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678676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85E524EF-38DD-4133-9CB1-B4D859856622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877F1AC-27FD-4D91-8233-FFEB7CB4997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77E2370F-CDF6-4A4E-AE10-367AAABDBC3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8F46CEC0-656D-45CE-8EA9-A4D2459302DA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C51FD95-BE6A-46E4-91CB-6D28BBD9EF0C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552444"/>
      </p:ext>
    </p:extLst>
  </p:cSld>
  <p:clrMapOvr>
    <a:masterClrMapping/>
  </p:clrMapOvr>
  <p:transition>
    <p:fade/>
  </p:transition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AE3629-54C6-4432-B2D3-F0E582C7EC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32802" name="Object 1" hidden="1">
                        <a:extLst>
                          <a:ext uri="{FF2B5EF4-FFF2-40B4-BE49-F238E27FC236}">
                            <a16:creationId xmlns:a16="http://schemas.microsoft.com/office/drawing/2014/main" id="{CA5D952F-086A-425D-BD41-1747BE7492C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A34B1509-4B9D-47CE-B50C-2E63109EA4B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3052AE6-65CA-4173-AE9A-EBDA12EB738E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" name="A4Grid">
            <a:extLst>
              <a:ext uri="{FF2B5EF4-FFF2-40B4-BE49-F238E27FC236}">
                <a16:creationId xmlns:a16="http://schemas.microsoft.com/office/drawing/2014/main" id="{B7E86B08-4A3C-4BA2-AF72-502FBBBB027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5" name="Slide edges">
              <a:extLst>
                <a:ext uri="{FF2B5EF4-FFF2-40B4-BE49-F238E27FC236}">
                  <a16:creationId xmlns:a16="http://schemas.microsoft.com/office/drawing/2014/main" id="{6BD52C1C-A0D6-47C5-9366-2376D80CE24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6" name="No-fly zone">
              <a:extLst>
                <a:ext uri="{FF2B5EF4-FFF2-40B4-BE49-F238E27FC236}">
                  <a16:creationId xmlns:a16="http://schemas.microsoft.com/office/drawing/2014/main" id="{79AF1CFC-F049-42F2-BA32-14F1399A9A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29400 w 9906000"/>
                <a:gd name="T1" fmla="*/ 622800 h 6858000"/>
                <a:gd name="T2" fmla="*/ 629400 w 9906000"/>
                <a:gd name="T3" fmla="*/ 6156000 h 6858000"/>
                <a:gd name="T4" fmla="*/ 9276600 w 9906000"/>
                <a:gd name="T5" fmla="*/ 6156000 h 6858000"/>
                <a:gd name="T6" fmla="*/ 9276600 w 9906000"/>
                <a:gd name="T7" fmla="*/ 622800 h 6858000"/>
                <a:gd name="T8" fmla="*/ 0 w 9906000"/>
                <a:gd name="T9" fmla="*/ 0 h 6858000"/>
                <a:gd name="T10" fmla="*/ 629400 w 9906000"/>
                <a:gd name="T11" fmla="*/ 0 h 6858000"/>
                <a:gd name="T12" fmla="*/ 629400 w 9906000"/>
                <a:gd name="T13" fmla="*/ 0 h 6858000"/>
                <a:gd name="T14" fmla="*/ 9276600 w 9906000"/>
                <a:gd name="T15" fmla="*/ 0 h 6858000"/>
                <a:gd name="T16" fmla="*/ 9906000 w 9906000"/>
                <a:gd name="T17" fmla="*/ 0 h 6858000"/>
                <a:gd name="T18" fmla="*/ 9906000 w 9906000"/>
                <a:gd name="T19" fmla="*/ 622800 h 6858000"/>
                <a:gd name="T20" fmla="*/ 9906000 w 9906000"/>
                <a:gd name="T21" fmla="*/ 6156000 h 6858000"/>
                <a:gd name="T22" fmla="*/ 9906000 w 9906000"/>
                <a:gd name="T23" fmla="*/ 6858000 h 6858000"/>
                <a:gd name="T24" fmla="*/ 9276600 w 9906000"/>
                <a:gd name="T25" fmla="*/ 6858000 h 6858000"/>
                <a:gd name="T26" fmla="*/ 629400 w 9906000"/>
                <a:gd name="T27" fmla="*/ 6858000 h 6858000"/>
                <a:gd name="T28" fmla="*/ 0 w 9906000"/>
                <a:gd name="T29" fmla="*/ 6858000 h 6858000"/>
                <a:gd name="T30" fmla="*/ 0 w 9906000"/>
                <a:gd name="T31" fmla="*/ 6858000 h 6858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lnTo>
                    <a:pt x="6294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" name="Footnote measure">
              <a:extLst>
                <a:ext uri="{FF2B5EF4-FFF2-40B4-BE49-F238E27FC236}">
                  <a16:creationId xmlns:a16="http://schemas.microsoft.com/office/drawing/2014/main" id="{1198A487-04CA-4969-92FE-188414A3E6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8" name="Whitespace measure">
              <a:extLst>
                <a:ext uri="{FF2B5EF4-FFF2-40B4-BE49-F238E27FC236}">
                  <a16:creationId xmlns:a16="http://schemas.microsoft.com/office/drawing/2014/main" id="{7345A04A-4FFB-425C-AD0A-5E7DA1EAD8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545454"/>
                </a:solidFill>
                <a:latin typeface="Trebuchet MS"/>
              </a:endParaRPr>
            </a:p>
          </p:txBody>
        </p:sp>
        <p:grpSp>
          <p:nvGrpSpPr>
            <p:cNvPr id="9" name="Gutter space">
              <a:extLst>
                <a:ext uri="{FF2B5EF4-FFF2-40B4-BE49-F238E27FC236}">
                  <a16:creationId xmlns:a16="http://schemas.microsoft.com/office/drawing/2014/main" id="{141C4CB1-93FB-48D7-AD0E-99922B253E24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39" name="Gutter 11">
                <a:extLst>
                  <a:ext uri="{FF2B5EF4-FFF2-40B4-BE49-F238E27FC236}">
                    <a16:creationId xmlns:a16="http://schemas.microsoft.com/office/drawing/2014/main" id="{94079BEB-4C1F-4518-BAE9-D56D65BF72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0" name="Gutter 10">
                <a:extLst>
                  <a:ext uri="{FF2B5EF4-FFF2-40B4-BE49-F238E27FC236}">
                    <a16:creationId xmlns:a16="http://schemas.microsoft.com/office/drawing/2014/main" id="{378BA54F-DB76-43B7-956F-35C059D18C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1" name="Gutter 9">
                <a:extLst>
                  <a:ext uri="{FF2B5EF4-FFF2-40B4-BE49-F238E27FC236}">
                    <a16:creationId xmlns:a16="http://schemas.microsoft.com/office/drawing/2014/main" id="{9675746A-3A17-41FD-9478-6CA199AB6C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2" name="Gutter 8">
                <a:extLst>
                  <a:ext uri="{FF2B5EF4-FFF2-40B4-BE49-F238E27FC236}">
                    <a16:creationId xmlns:a16="http://schemas.microsoft.com/office/drawing/2014/main" id="{F46C35B1-5D51-41EB-96D4-5E7A22FDD4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3" name="Gutter 7">
                <a:extLst>
                  <a:ext uri="{FF2B5EF4-FFF2-40B4-BE49-F238E27FC236}">
                    <a16:creationId xmlns:a16="http://schemas.microsoft.com/office/drawing/2014/main" id="{EA5D7622-D1D3-4E94-8AB2-FFD439E13B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4" name="Gutter 6">
                <a:extLst>
                  <a:ext uri="{FF2B5EF4-FFF2-40B4-BE49-F238E27FC236}">
                    <a16:creationId xmlns:a16="http://schemas.microsoft.com/office/drawing/2014/main" id="{4E71202F-926C-47E9-99FD-995B9C8998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5" name="Gutter 5">
                <a:extLst>
                  <a:ext uri="{FF2B5EF4-FFF2-40B4-BE49-F238E27FC236}">
                    <a16:creationId xmlns:a16="http://schemas.microsoft.com/office/drawing/2014/main" id="{5C94C021-1438-4BBD-9EAD-E6FECF356A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6" name="Gutter 4">
                <a:extLst>
                  <a:ext uri="{FF2B5EF4-FFF2-40B4-BE49-F238E27FC236}">
                    <a16:creationId xmlns:a16="http://schemas.microsoft.com/office/drawing/2014/main" id="{32C4ADB0-2D62-4DFE-9800-5C0C6F4A80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7" name="Gutter 3">
                <a:extLst>
                  <a:ext uri="{FF2B5EF4-FFF2-40B4-BE49-F238E27FC236}">
                    <a16:creationId xmlns:a16="http://schemas.microsoft.com/office/drawing/2014/main" id="{89B22CED-63BE-4E7F-8167-EA91B54073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8" name="Gutter 2">
                <a:extLst>
                  <a:ext uri="{FF2B5EF4-FFF2-40B4-BE49-F238E27FC236}">
                    <a16:creationId xmlns:a16="http://schemas.microsoft.com/office/drawing/2014/main" id="{B973BDFA-04C2-4FCC-A21B-F395A083C1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9" name="Gutter 1">
                <a:extLst>
                  <a:ext uri="{FF2B5EF4-FFF2-40B4-BE49-F238E27FC236}">
                    <a16:creationId xmlns:a16="http://schemas.microsoft.com/office/drawing/2014/main" id="{1CEF7FF2-91CC-4A50-B958-E005E4EA60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grpSp>
          <p:nvGrpSpPr>
            <p:cNvPr id="10" name="Baselines/Anchors">
              <a:extLst>
                <a:ext uri="{FF2B5EF4-FFF2-40B4-BE49-F238E27FC236}">
                  <a16:creationId xmlns:a16="http://schemas.microsoft.com/office/drawing/2014/main" id="{68520CA8-CAAF-4A5E-86FF-D519C836A200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19" name="Line 20">
                <a:extLst>
                  <a:ext uri="{FF2B5EF4-FFF2-40B4-BE49-F238E27FC236}">
                    <a16:creationId xmlns:a16="http://schemas.microsoft.com/office/drawing/2014/main" id="{BF56C64E-CFAA-462C-AFAB-2224E0ED38B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0" name="Line 19">
                <a:extLst>
                  <a:ext uri="{FF2B5EF4-FFF2-40B4-BE49-F238E27FC236}">
                    <a16:creationId xmlns:a16="http://schemas.microsoft.com/office/drawing/2014/main" id="{14C02D78-8766-4DCB-B34E-CE737490C1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1" name="Line 18">
                <a:extLst>
                  <a:ext uri="{FF2B5EF4-FFF2-40B4-BE49-F238E27FC236}">
                    <a16:creationId xmlns:a16="http://schemas.microsoft.com/office/drawing/2014/main" id="{02FB07A3-3B77-4369-947F-3C1226F7C3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Line 17">
                <a:extLst>
                  <a:ext uri="{FF2B5EF4-FFF2-40B4-BE49-F238E27FC236}">
                    <a16:creationId xmlns:a16="http://schemas.microsoft.com/office/drawing/2014/main" id="{8F697D23-BF8C-421B-A18C-00847CF577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" name="Line 16">
                <a:extLst>
                  <a:ext uri="{FF2B5EF4-FFF2-40B4-BE49-F238E27FC236}">
                    <a16:creationId xmlns:a16="http://schemas.microsoft.com/office/drawing/2014/main" id="{1F799D22-FF16-492D-B364-3B08E8F5CA7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Line 15">
                <a:extLst>
                  <a:ext uri="{FF2B5EF4-FFF2-40B4-BE49-F238E27FC236}">
                    <a16:creationId xmlns:a16="http://schemas.microsoft.com/office/drawing/2014/main" id="{AE2CAD08-D965-410B-BC9F-C7AF93D6D1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5" name="Line 14">
                <a:extLst>
                  <a:ext uri="{FF2B5EF4-FFF2-40B4-BE49-F238E27FC236}">
                    <a16:creationId xmlns:a16="http://schemas.microsoft.com/office/drawing/2014/main" id="{1A1560C2-056E-4BE6-A09A-D1689A1A31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Line 13">
                <a:extLst>
                  <a:ext uri="{FF2B5EF4-FFF2-40B4-BE49-F238E27FC236}">
                    <a16:creationId xmlns:a16="http://schemas.microsoft.com/office/drawing/2014/main" id="{E3A2C2BF-9730-4BE3-9125-857B064216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7" name="Line 12">
                <a:extLst>
                  <a:ext uri="{FF2B5EF4-FFF2-40B4-BE49-F238E27FC236}">
                    <a16:creationId xmlns:a16="http://schemas.microsoft.com/office/drawing/2014/main" id="{DD5EE0DB-DD41-4EA5-AA98-7DA7E51552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8" name="Line 11">
                <a:extLst>
                  <a:ext uri="{FF2B5EF4-FFF2-40B4-BE49-F238E27FC236}">
                    <a16:creationId xmlns:a16="http://schemas.microsoft.com/office/drawing/2014/main" id="{56E90584-A86B-4069-AE07-AAA0C858DB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9" name="Line 10">
                <a:extLst>
                  <a:ext uri="{FF2B5EF4-FFF2-40B4-BE49-F238E27FC236}">
                    <a16:creationId xmlns:a16="http://schemas.microsoft.com/office/drawing/2014/main" id="{3E709F2E-3602-4672-8D26-B52D860F59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0" name="Line 9">
                <a:extLst>
                  <a:ext uri="{FF2B5EF4-FFF2-40B4-BE49-F238E27FC236}">
                    <a16:creationId xmlns:a16="http://schemas.microsoft.com/office/drawing/2014/main" id="{059ED77A-AD14-48BC-956B-9F6B5B6CB9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Line 8">
                <a:extLst>
                  <a:ext uri="{FF2B5EF4-FFF2-40B4-BE49-F238E27FC236}">
                    <a16:creationId xmlns:a16="http://schemas.microsoft.com/office/drawing/2014/main" id="{4E970213-F557-4FA4-BDB1-AA2B0AE2B86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2" name="Line 7">
                <a:extLst>
                  <a:ext uri="{FF2B5EF4-FFF2-40B4-BE49-F238E27FC236}">
                    <a16:creationId xmlns:a16="http://schemas.microsoft.com/office/drawing/2014/main" id="{1BA24FAC-D482-4E2A-8C93-C691060A39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" name="Line 6">
                <a:extLst>
                  <a:ext uri="{FF2B5EF4-FFF2-40B4-BE49-F238E27FC236}">
                    <a16:creationId xmlns:a16="http://schemas.microsoft.com/office/drawing/2014/main" id="{D3606F54-190D-4673-96BD-5C17871F35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4" name="Line 5">
                <a:extLst>
                  <a:ext uri="{FF2B5EF4-FFF2-40B4-BE49-F238E27FC236}">
                    <a16:creationId xmlns:a16="http://schemas.microsoft.com/office/drawing/2014/main" id="{BF397677-B0DA-4CFF-A9BA-C23137BDB8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Line 4">
                <a:extLst>
                  <a:ext uri="{FF2B5EF4-FFF2-40B4-BE49-F238E27FC236}">
                    <a16:creationId xmlns:a16="http://schemas.microsoft.com/office/drawing/2014/main" id="{3E4DC708-1873-4A14-AEEA-E1A52CA758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Line 3">
                <a:extLst>
                  <a:ext uri="{FF2B5EF4-FFF2-40B4-BE49-F238E27FC236}">
                    <a16:creationId xmlns:a16="http://schemas.microsoft.com/office/drawing/2014/main" id="{D7D2D6BC-EC71-4F1A-8C7A-B76BFFD3EBA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7" name="Line 2">
                <a:extLst>
                  <a:ext uri="{FF2B5EF4-FFF2-40B4-BE49-F238E27FC236}">
                    <a16:creationId xmlns:a16="http://schemas.microsoft.com/office/drawing/2014/main" id="{6B803B18-F648-4C94-861D-BDCB37A1A8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Line 1">
                <a:extLst>
                  <a:ext uri="{FF2B5EF4-FFF2-40B4-BE49-F238E27FC236}">
                    <a16:creationId xmlns:a16="http://schemas.microsoft.com/office/drawing/2014/main" id="{49EE1111-7BBB-4BFC-93EA-3C547D3A88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12DE1274-544C-4BBF-9F56-DF232E6161CD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4" name="Column 5">
                <a:extLst>
                  <a:ext uri="{FF2B5EF4-FFF2-40B4-BE49-F238E27FC236}">
                    <a16:creationId xmlns:a16="http://schemas.microsoft.com/office/drawing/2014/main" id="{584A1D2C-0DAB-420E-8F3A-907268B19E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5" name="Column 4">
                <a:extLst>
                  <a:ext uri="{FF2B5EF4-FFF2-40B4-BE49-F238E27FC236}">
                    <a16:creationId xmlns:a16="http://schemas.microsoft.com/office/drawing/2014/main" id="{82E727A1-C246-4864-8BB2-1CF85B3B1A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6" name="Column 3">
                <a:extLst>
                  <a:ext uri="{FF2B5EF4-FFF2-40B4-BE49-F238E27FC236}">
                    <a16:creationId xmlns:a16="http://schemas.microsoft.com/office/drawing/2014/main" id="{69C4C251-5B05-4480-9D87-03A2CCBC7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7" name="Column 2">
                <a:extLst>
                  <a:ext uri="{FF2B5EF4-FFF2-40B4-BE49-F238E27FC236}">
                    <a16:creationId xmlns:a16="http://schemas.microsoft.com/office/drawing/2014/main" id="{34EE1E4D-B7A5-4F4A-BB4B-9651693CC4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8" name="Column 1">
                <a:extLst>
                  <a:ext uri="{FF2B5EF4-FFF2-40B4-BE49-F238E27FC236}">
                    <a16:creationId xmlns:a16="http://schemas.microsoft.com/office/drawing/2014/main" id="{159E8D71-8381-43CF-BE1E-B3AF9B9DE5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sp>
          <p:nvSpPr>
            <p:cNvPr id="12" name="Live space">
              <a:extLst>
                <a:ext uri="{FF2B5EF4-FFF2-40B4-BE49-F238E27FC236}">
                  <a16:creationId xmlns:a16="http://schemas.microsoft.com/office/drawing/2014/main" id="{75D73590-F1FF-4D23-BEF7-91B3DC148F1D}"/>
                </a:ext>
              </a:extLst>
            </p:cNvPr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rgbClr val="545454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:a16="http://schemas.microsoft.com/office/drawing/2014/main" id="{46F5E1B8-01E2-484C-9178-AD2C2EE30A0B}"/>
                </a:ext>
              </a:extLst>
            </p:cNvPr>
            <p:cNvSpPr txBox="1">
              <a:spLocks noChangeAspect="1"/>
            </p:cNvSpPr>
            <p:nvPr userDrawn="1"/>
          </p:nvSpPr>
          <p:spPr bwMode="auto">
            <a:xfrm>
              <a:off x="629444" y="6099175"/>
              <a:ext cx="7283748" cy="4619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lang="en-US" altLang="en-US" sz="10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0" name="FooterSimple" hidden="1">
            <a:extLst>
              <a:ext uri="{FF2B5EF4-FFF2-40B4-BE49-F238E27FC236}">
                <a16:creationId xmlns:a16="http://schemas.microsoft.com/office/drawing/2014/main" id="{277D0918-C7BF-41AB-9DF3-74A27C95D03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1" name="Date Placeholder 1">
            <a:extLst>
              <a:ext uri="{FF2B5EF4-FFF2-40B4-BE49-F238E27FC236}">
                <a16:creationId xmlns:a16="http://schemas.microsoft.com/office/drawing/2014/main" id="{2778AA32-7384-4011-8084-22014C85F8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BA37E96-6285-453C-A5B5-854724C41597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3883823"/>
      </p:ext>
    </p:extLst>
  </p:cSld>
  <p:clrMapOvr>
    <a:masterClrMapping/>
  </p:clrMapOvr>
  <p:transition>
    <p:fade/>
  </p:transition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947FF93E-39C4-422D-BA79-4D72E0C9A5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37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333826" name="Object 2" hidden="1">
                        <a:extLst>
                          <a:ext uri="{FF2B5EF4-FFF2-40B4-BE49-F238E27FC236}">
                            <a16:creationId xmlns:a16="http://schemas.microsoft.com/office/drawing/2014/main" id="{C2DC37CE-1A09-4859-8E42-91C8A7F2CCA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790EB3A3-96B3-41B9-A0D6-6BD2291CA8D7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09E1C13-E330-4657-A5D7-B36FA0B1B8BC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E8A41C98-2AA3-4574-9EE8-C14E76E65C9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C9729E6C-4D26-4A6B-835F-63575894392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4B82382B-1CF0-45B9-B86B-FCE2B4530D91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3DF9EEFF-C712-4000-A71F-FC1582BD1A17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 dirty="0">
                <a:solidFill>
                  <a:srgbClr val="FFFFFF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880743"/>
      </p:ext>
    </p:extLst>
  </p:cSld>
  <p:clrMapOvr>
    <a:masterClrMapping/>
  </p:clrMapOvr>
  <p:transition>
    <p:fade/>
  </p:transition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1BD80DE8-FF26-42E0-9630-F23048E935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61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334850" name="Object 2" hidden="1">
                        <a:extLst>
                          <a:ext uri="{FF2B5EF4-FFF2-40B4-BE49-F238E27FC236}">
                            <a16:creationId xmlns:a16="http://schemas.microsoft.com/office/drawing/2014/main" id="{34306EA9-CEA1-43F3-9B38-3BD9D9E9DA5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58F48A82-86E3-4444-9D29-328D003CD48F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942170E-7151-42A8-A4FC-5B9DAD9B946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2E9DA32C-B6DA-418B-9900-2A018AAF4194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907073AA-E125-4798-AEE8-DFD8201F97B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eaLnBrk="1" fontAlgn="auto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19F3F21F-C6F3-48A9-A059-DFF0ABE28C40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328088"/>
      </p:ext>
    </p:extLst>
  </p:cSld>
  <p:clrMapOvr>
    <a:masterClrMapping/>
  </p:clrMapOvr>
  <p:transition>
    <p:fade/>
  </p:transition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0F5BA7C4-BBF7-4F7B-A50C-D4FDB8AF9B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85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335874" name="Object 2" hidden="1">
                        <a:extLst>
                          <a:ext uri="{FF2B5EF4-FFF2-40B4-BE49-F238E27FC236}">
                            <a16:creationId xmlns:a16="http://schemas.microsoft.com/office/drawing/2014/main" id="{A7418877-6AC4-47A9-A43F-CD124EC1E06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E38336EC-5221-4D70-9483-E898F30B8A2A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321B24C-B055-40B3-BCD8-52633A4B808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35DD4B16-AD38-4B39-BE44-A1DDC3BAD5C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5" name="Straight Connector 9">
            <a:extLst>
              <a:ext uri="{FF2B5EF4-FFF2-40B4-BE49-F238E27FC236}">
                <a16:creationId xmlns:a16="http://schemas.microsoft.com/office/drawing/2014/main" id="{F8105B97-23F8-43D1-9B98-C6329C08575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10">
            <a:extLst>
              <a:ext uri="{FF2B5EF4-FFF2-40B4-BE49-F238E27FC236}">
                <a16:creationId xmlns:a16="http://schemas.microsoft.com/office/drawing/2014/main" id="{EDCB9B57-4B99-4270-8532-19F5767AC076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800">
                <a:solidFill>
                  <a:prstClr val="white">
                    <a:lumMod val="100000"/>
                  </a:prst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21924520"/>
      </p:ext>
    </p:extLst>
  </p:cSld>
  <p:clrMapOvr>
    <a:masterClrMapping/>
  </p:clrMapOvr>
  <p:transition>
    <p:fade/>
  </p:transition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482D0E3-D2A2-4335-BFDD-9B84AEC3E6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0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36898" name="Object 1" hidden="1">
                        <a:extLst>
                          <a:ext uri="{FF2B5EF4-FFF2-40B4-BE49-F238E27FC236}">
                            <a16:creationId xmlns:a16="http://schemas.microsoft.com/office/drawing/2014/main" id="{92F3E086-40A1-4A55-86ED-7BDCF2C966E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:a16="http://schemas.microsoft.com/office/drawing/2014/main" id="{1139F493-B42C-4BDA-BD73-391303D9859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9431C739-AC6E-428F-9AD5-77F56F12EDD6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955788F3-0206-4540-96B7-299E9CF1E3E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371C334-29C3-4FEE-9115-4544D67B58E6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9D2CD83C-0A13-4EC0-8680-585F998F86A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extBox 14">
            <a:extLst>
              <a:ext uri="{FF2B5EF4-FFF2-40B4-BE49-F238E27FC236}">
                <a16:creationId xmlns:a16="http://schemas.microsoft.com/office/drawing/2014/main" id="{0A38B90F-C8AA-4056-B72E-056BE6646A5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4700" y="2681288"/>
            <a:ext cx="3044825" cy="149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2800">
                <a:solidFill>
                  <a:srgbClr val="FFFFFF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74012993"/>
      </p:ext>
    </p:extLst>
  </p:cSld>
  <p:clrMapOvr>
    <a:masterClrMapping/>
  </p:clrMapOvr>
  <p:transition>
    <p:fade/>
  </p:transition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F911A9-C2D4-4D74-A762-4CB7338113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64" name="Слайд think-cell" r:id="rId9" imgW="360" imgH="360" progId="TCLayout.ActiveDocument.1">
                  <p:embed/>
                </p:oleObj>
              </mc:Choice>
              <mc:Fallback>
                <p:oleObj name="Слайд think-cell" r:id="rId9" imgW="360" imgH="360" progId="TCLayout.ActiveDocument.1">
                  <p:embed/>
                  <p:pic>
                    <p:nvPicPr>
                      <p:cNvPr id="337922" name="Object 1" hidden="1">
                        <a:extLst>
                          <a:ext uri="{FF2B5EF4-FFF2-40B4-BE49-F238E27FC236}">
                            <a16:creationId xmlns:a16="http://schemas.microsoft.com/office/drawing/2014/main" id="{CAB5C458-57C8-483F-BCBD-98FCBFE86C5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9514F056-D189-4ED1-B71F-FAD8C695BC8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473C271-3009-45F5-B8F4-680D38D5C9F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16A6011-C834-4891-BFF4-1068A5FFF3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6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337924" name="Object 3" hidden="1">
                        <a:extLst>
                          <a:ext uri="{FF2B5EF4-FFF2-40B4-BE49-F238E27FC236}">
                            <a16:creationId xmlns:a16="http://schemas.microsoft.com/office/drawing/2014/main" id="{373063C8-F1B1-425A-AFAC-1A103BBF456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2C473193-7F6C-41CB-A083-C7F9A30B724D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43541B27-3CD9-481C-BED0-36B61ACEF3B5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EA8A6331-0B02-4E42-913F-C4C81627E008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3EA30847-0659-466E-8FCA-62926136C96D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51461242"/>
      </p:ext>
    </p:extLst>
  </p:cSld>
  <p:clrMapOvr>
    <a:masterClrMapping/>
  </p:clrMapOvr>
  <p:transition>
    <p:fade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A79CE6-9B5D-44AB-AA2F-64F3550411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88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338946" name="Object 1" hidden="1">
                        <a:extLst>
                          <a:ext uri="{FF2B5EF4-FFF2-40B4-BE49-F238E27FC236}">
                            <a16:creationId xmlns:a16="http://schemas.microsoft.com/office/drawing/2014/main" id="{1AF3F745-5118-40F9-967F-03B56564739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C8F1F8D5-5068-475C-B007-CDA7A71FBC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62D1D6E-3107-4A73-A0E6-D55CD029076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E60485-6031-4FF1-B75F-41B7CAE998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8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338948" name="Object 3" hidden="1">
                        <a:extLst>
                          <a:ext uri="{FF2B5EF4-FFF2-40B4-BE49-F238E27FC236}">
                            <a16:creationId xmlns:a16="http://schemas.microsoft.com/office/drawing/2014/main" id="{52D60431-029E-4EF6-ABF8-622E0D96969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9A3D4AFB-C0C3-47D3-9392-6E7A12D70861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96D5EFBC-C062-4C7C-8E6B-54CB632D8E85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eaLnBrk="1" fontAlgn="auto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4E98C6">
                  <a:lumMod val="10000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EF4A40FA-2AAF-439F-8F90-266D6BE28E43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662555"/>
      </p:ext>
    </p:extLst>
  </p:cSld>
  <p:clrMapOvr>
    <a:masterClrMapping/>
  </p:clrMapOvr>
  <p:transition>
    <p:fade/>
  </p:transition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326A68B-A823-4B48-BAC6-350DA7DA42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12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339970" name="Object 1" hidden="1">
                        <a:extLst>
                          <a:ext uri="{FF2B5EF4-FFF2-40B4-BE49-F238E27FC236}">
                            <a16:creationId xmlns:a16="http://schemas.microsoft.com/office/drawing/2014/main" id="{766614CF-2EBF-4F23-B678-E1C86B90479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DEF6C34F-EF54-4EE4-B6E7-D1D3E8259BC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98CF060-4C8A-4821-BADB-897075D6323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43BA1C7-37B2-4D7B-B64B-F6F9406D57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1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339972" name="Object 3" hidden="1">
                        <a:extLst>
                          <a:ext uri="{FF2B5EF4-FFF2-40B4-BE49-F238E27FC236}">
                            <a16:creationId xmlns:a16="http://schemas.microsoft.com/office/drawing/2014/main" id="{9F1C4903-DF78-4997-93EC-3DF50276C4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7BAA8C32-C912-4F2A-83C8-F5B6C6933811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6" name="Straight Connector 7">
            <a:extLst>
              <a:ext uri="{FF2B5EF4-FFF2-40B4-BE49-F238E27FC236}">
                <a16:creationId xmlns:a16="http://schemas.microsoft.com/office/drawing/2014/main" id="{F506D519-5D11-40FE-A887-35FDC32A840A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8">
            <a:extLst>
              <a:ext uri="{FF2B5EF4-FFF2-40B4-BE49-F238E27FC236}">
                <a16:creationId xmlns:a16="http://schemas.microsoft.com/office/drawing/2014/main" id="{A2CD62A4-8314-4D5D-908B-EF1C93752328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4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55784189"/>
      </p:ext>
    </p:extLst>
  </p:cSld>
  <p:clrMapOvr>
    <a:masterClrMapping/>
  </p:clrMapOvr>
  <p:transition>
    <p:fade/>
  </p:transition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5313EAC-481C-40BB-B844-FB64A1280B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0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40994" name="Object 1" hidden="1">
                        <a:extLst>
                          <a:ext uri="{FF2B5EF4-FFF2-40B4-BE49-F238E27FC236}">
                            <a16:creationId xmlns:a16="http://schemas.microsoft.com/office/drawing/2014/main" id="{CD9E0B33-BDA0-4723-9985-BBBB985C711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:a16="http://schemas.microsoft.com/office/drawing/2014/main" id="{A93C0F33-2BB5-4847-805C-E031527A1DE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:a16="http://schemas.microsoft.com/office/drawing/2014/main" id="{5C8DA169-4715-44E2-925D-FFF5F0806DC9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61B1C22F-C8D1-444B-A790-0AF784CCE46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1FB2C13-7A70-4BD0-AFED-B82BDCEAACA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92D7D57B-87D8-4558-A163-CDDCE05ABDF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extBox 14">
            <a:extLst>
              <a:ext uri="{FF2B5EF4-FFF2-40B4-BE49-F238E27FC236}">
                <a16:creationId xmlns:a16="http://schemas.microsoft.com/office/drawing/2014/main" id="{A4837181-9E14-4E0E-9497-8580C69CE84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4700" y="2681288"/>
            <a:ext cx="3044825" cy="149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2400">
                <a:solidFill>
                  <a:srgbClr val="FFFFFF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26641053"/>
      </p:ext>
    </p:extLst>
  </p:cSld>
  <p:clrMapOvr>
    <a:masterClrMapping/>
  </p:clrMapOvr>
  <p:transition>
    <p:fade/>
  </p:transition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7972EB9-29CE-4E23-9EE5-FA2B427213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2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42018" name="Object 1" hidden="1">
                        <a:extLst>
                          <a:ext uri="{FF2B5EF4-FFF2-40B4-BE49-F238E27FC236}">
                            <a16:creationId xmlns:a16="http://schemas.microsoft.com/office/drawing/2014/main" id="{3951D65F-EBBE-4907-9C0F-543CBAD6334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:a16="http://schemas.microsoft.com/office/drawing/2014/main" id="{C042FF3B-08F4-4F0B-B88B-92BD703F03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:a16="http://schemas.microsoft.com/office/drawing/2014/main" id="{0573E047-8132-4A7A-94CC-F51DAAF41963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631EC465-5B85-48E9-AA55-6C98A23803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56D6CF9-3CE4-42CD-A4AD-6D4F7A21497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TextBox 13">
            <a:extLst>
              <a:ext uri="{FF2B5EF4-FFF2-40B4-BE49-F238E27FC236}">
                <a16:creationId xmlns:a16="http://schemas.microsoft.com/office/drawing/2014/main" id="{79306C41-BE62-4AF5-8A1A-7D9A09FA0D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2000" y="2711450"/>
            <a:ext cx="2738438" cy="1435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ts val="700"/>
              </a:spcAft>
              <a:defRPr/>
            </a:pPr>
            <a:r>
              <a:rPr lang="en-US" altLang="en-US" sz="4400">
                <a:solidFill>
                  <a:srgbClr val="295E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63FA3E37-7D63-46E3-A50C-13874BAA5B0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10 Повышение продуктивной занятости населения.pptx</a:t>
            </a:r>
            <a:endParaRPr lang="en-US" altLang="en-US" sz="7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5809620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44247EF-FBD7-471E-90C0-8DE1123D50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9698" name="Object 1" hidden="1">
                        <a:extLst>
                          <a:ext uri="{FF2B5EF4-FFF2-40B4-BE49-F238E27FC236}">
                            <a16:creationId xmlns:a16="http://schemas.microsoft.com/office/drawing/2014/main" id="{A6A9739E-D127-492B-BD7F-31C7F9AE015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F3CBBD7E-F356-414E-99E6-9D99525079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58B2B20-1D9B-4A38-8476-521DA9D29D9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129015E9-92E3-4AD1-999A-EF3C34FFD38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BB8F90-EE0F-4031-8C34-20E4D9AFCF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6BE602D-D260-4ECB-A599-5D9FE7CACCD0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750867"/>
      </p:ext>
    </p:extLst>
  </p:cSld>
  <p:clrMapOvr>
    <a:masterClrMapping/>
  </p:clrMapOvr>
  <p:transition>
    <p:fade/>
  </p:transition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>
            <a:extLst>
              <a:ext uri="{FF2B5EF4-FFF2-40B4-BE49-F238E27FC236}">
                <a16:creationId xmlns:a16="http://schemas.microsoft.com/office/drawing/2014/main" id="{573EFAE1-760A-4DB5-8D6A-694042629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343042" name="Object 1" hidden="1">
                        <a:extLst>
                          <a:ext uri="{FF2B5EF4-FFF2-40B4-BE49-F238E27FC236}">
                            <a16:creationId xmlns:a16="http://schemas.microsoft.com/office/drawing/2014/main" id="{F21EF083-AF3F-4E72-A2B1-353BCC86C6A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age">
            <a:extLst>
              <a:ext uri="{FF2B5EF4-FFF2-40B4-BE49-F238E27FC236}">
                <a16:creationId xmlns:a16="http://schemas.microsoft.com/office/drawing/2014/main" id="{1BCA9C5D-4ADB-48A5-A851-B751F59A5F7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E56773A-3FAE-4F7D-9CD5-8F24C02568C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8" y="1508760"/>
            <a:ext cx="11074087" cy="4590288"/>
          </a:xfrm>
        </p:spPr>
        <p:txBody>
          <a:bodyPr/>
          <a:lstStyle>
            <a:lvl1pPr>
              <a:spcBef>
                <a:spcPts val="312"/>
              </a:spcBef>
              <a:defRPr/>
            </a:lvl1pPr>
            <a:lvl2pPr marL="371475" indent="-187200">
              <a:spcBef>
                <a:spcPts val="312"/>
              </a:spcBef>
              <a:defRPr/>
            </a:lvl2pPr>
            <a:lvl3pPr marL="742950" indent="-187200">
              <a:spcBef>
                <a:spcPts val="312"/>
              </a:spcBef>
              <a:defRPr/>
            </a:lvl3pPr>
            <a:lvl4pPr marL="1117350" indent="-190125">
              <a:spcBef>
                <a:spcPts val="312"/>
              </a:spcBef>
              <a:defRPr/>
            </a:lvl4pPr>
            <a:lvl5pPr marL="1673100" indent="-187200">
              <a:spcBef>
                <a:spcPts val="312"/>
              </a:spcBef>
              <a:defRPr/>
            </a:lvl5pPr>
          </a:lstStyle>
          <a:p>
            <a:pPr lvl="0"/>
            <a:r>
              <a:rPr lang="ru"/>
              <a:t>Click to edit Master text styles</a:t>
            </a:r>
          </a:p>
          <a:p>
            <a:pPr lvl="1"/>
            <a:r>
              <a:rPr lang="ru"/>
              <a:t>Second level</a:t>
            </a:r>
          </a:p>
          <a:p>
            <a:pPr lvl="2"/>
            <a:r>
              <a:rPr lang="ru"/>
              <a:t>Third level</a:t>
            </a:r>
          </a:p>
          <a:p>
            <a:pPr lvl="3"/>
            <a:r>
              <a:rPr lang="ru"/>
              <a:t>Fourth level</a:t>
            </a:r>
          </a:p>
          <a:p>
            <a:pPr lvl="4"/>
            <a:r>
              <a:rPr lang="ru"/>
              <a:t>Fifth level</a:t>
            </a:r>
            <a:endParaRPr lang="ru" dirty="0"/>
          </a:p>
        </p:txBody>
      </p:sp>
    </p:spTree>
    <p:extLst>
      <p:ext uri="{BB962C8B-B14F-4D97-AF65-F5344CB8AC3E}">
        <p14:creationId xmlns:p14="http://schemas.microsoft.com/office/powerpoint/2010/main" val="33796892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>
            <a:extLst>
              <a:ext uri="{FF2B5EF4-FFF2-40B4-BE49-F238E27FC236}">
                <a16:creationId xmlns:a16="http://schemas.microsoft.com/office/drawing/2014/main" id="{6AC4B02B-3413-460E-AF53-8684B57385D9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6473D49-5341-474B-8964-BBD6CB7A571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FooterSimple" hidden="1">
            <a:extLst>
              <a:ext uri="{FF2B5EF4-FFF2-40B4-BE49-F238E27FC236}">
                <a16:creationId xmlns:a16="http://schemas.microsoft.com/office/drawing/2014/main" id="{6CB45CF9-1E0C-4767-B075-4ACF3A3F520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09BBF4EB-E94D-4175-85AB-01605A5D02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62965DF-8FDB-4DFE-8551-58AEBDE68D69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054752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FEE9D8D-9A11-4088-B34E-CC7EA1388B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1746" name="Object 1" hidden="1">
                        <a:extLst>
                          <a:ext uri="{FF2B5EF4-FFF2-40B4-BE49-F238E27FC236}">
                            <a16:creationId xmlns:a16="http://schemas.microsoft.com/office/drawing/2014/main" id="{0B58428A-7A68-4B7A-9949-D5765789CB3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C2A9BA8A-93CD-4EDA-B905-4D40CD55C2A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6136FAB-8E98-4AAB-AC2E-F871FE18D31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1C1737B5-A965-4ED8-92F3-DCE0EB78E765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</p:spTree>
    <p:extLst>
      <p:ext uri="{BB962C8B-B14F-4D97-AF65-F5344CB8AC3E}">
        <p14:creationId xmlns:p14="http://schemas.microsoft.com/office/powerpoint/2010/main" val="360572817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938426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yout gu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FDE80CB-D895-40C0-ABE2-2361F3779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3794" name="Object 1" hidden="1">
                        <a:extLst>
                          <a:ext uri="{FF2B5EF4-FFF2-40B4-BE49-F238E27FC236}">
                            <a16:creationId xmlns:a16="http://schemas.microsoft.com/office/drawing/2014/main" id="{79F8D905-EA5A-454C-914B-D11BC1DC955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037B0BBE-B2C2-4875-9DD7-50393BD4AA7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8098FDA-BA23-4F78-A600-B5BFEFA1C98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219B10A5-BBB4-4C40-AB11-9BF068851D64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16200000">
            <a:off x="9452769" y="3921919"/>
            <a:ext cx="5133975" cy="968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19125837-1BD0-4EE2-8D82-75E2A3E7D79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grpSp>
        <p:nvGrpSpPr>
          <p:cNvPr id="6" name="A4Grid">
            <a:extLst>
              <a:ext uri="{FF2B5EF4-FFF2-40B4-BE49-F238E27FC236}">
                <a16:creationId xmlns:a16="http://schemas.microsoft.com/office/drawing/2014/main" id="{EA163C81-A871-4DEC-BEE7-8A683BBA2D9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D59A7941-3355-40DC-AF29-2C887DE25FD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8" name="No-fly zone">
              <a:extLst>
                <a:ext uri="{FF2B5EF4-FFF2-40B4-BE49-F238E27FC236}">
                  <a16:creationId xmlns:a16="http://schemas.microsoft.com/office/drawing/2014/main" id="{F7F44BB0-F888-48C7-8FCC-42BB34C346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29400 w 9906000"/>
                <a:gd name="T1" fmla="*/ 622800 h 6858000"/>
                <a:gd name="T2" fmla="*/ 629400 w 9906000"/>
                <a:gd name="T3" fmla="*/ 6156000 h 6858000"/>
                <a:gd name="T4" fmla="*/ 9276600 w 9906000"/>
                <a:gd name="T5" fmla="*/ 6156000 h 6858000"/>
                <a:gd name="T6" fmla="*/ 9276600 w 9906000"/>
                <a:gd name="T7" fmla="*/ 622800 h 6858000"/>
                <a:gd name="T8" fmla="*/ 0 w 9906000"/>
                <a:gd name="T9" fmla="*/ 0 h 6858000"/>
                <a:gd name="T10" fmla="*/ 629400 w 9906000"/>
                <a:gd name="T11" fmla="*/ 0 h 6858000"/>
                <a:gd name="T12" fmla="*/ 629400 w 9906000"/>
                <a:gd name="T13" fmla="*/ 0 h 6858000"/>
                <a:gd name="T14" fmla="*/ 9276600 w 9906000"/>
                <a:gd name="T15" fmla="*/ 0 h 6858000"/>
                <a:gd name="T16" fmla="*/ 9906000 w 9906000"/>
                <a:gd name="T17" fmla="*/ 0 h 6858000"/>
                <a:gd name="T18" fmla="*/ 9906000 w 9906000"/>
                <a:gd name="T19" fmla="*/ 622800 h 6858000"/>
                <a:gd name="T20" fmla="*/ 9906000 w 9906000"/>
                <a:gd name="T21" fmla="*/ 6156000 h 6858000"/>
                <a:gd name="T22" fmla="*/ 9906000 w 9906000"/>
                <a:gd name="T23" fmla="*/ 6858000 h 6858000"/>
                <a:gd name="T24" fmla="*/ 9276600 w 9906000"/>
                <a:gd name="T25" fmla="*/ 6858000 h 6858000"/>
                <a:gd name="T26" fmla="*/ 629400 w 9906000"/>
                <a:gd name="T27" fmla="*/ 6858000 h 6858000"/>
                <a:gd name="T28" fmla="*/ 0 w 9906000"/>
                <a:gd name="T29" fmla="*/ 6858000 h 6858000"/>
                <a:gd name="T30" fmla="*/ 0 w 9906000"/>
                <a:gd name="T31" fmla="*/ 6858000 h 6858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lnTo>
                    <a:pt x="6294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894E67C5-B42F-4BF9-9FDA-8AA75A1EC2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:a16="http://schemas.microsoft.com/office/drawing/2014/main" id="{CCB89E14-4977-4C8A-8B99-E46199CD0E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545454"/>
                </a:solidFill>
                <a:latin typeface="Trebuchet MS"/>
              </a:endParaRPr>
            </a:p>
          </p:txBody>
        </p:sp>
        <p:grpSp>
          <p:nvGrpSpPr>
            <p:cNvPr id="11" name="Gutter space">
              <a:extLst>
                <a:ext uri="{FF2B5EF4-FFF2-40B4-BE49-F238E27FC236}">
                  <a16:creationId xmlns:a16="http://schemas.microsoft.com/office/drawing/2014/main" id="{39F62F2C-2CF6-4596-97AC-B8E43C88CD45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41" name="Gutter 11">
                <a:extLst>
                  <a:ext uri="{FF2B5EF4-FFF2-40B4-BE49-F238E27FC236}">
                    <a16:creationId xmlns:a16="http://schemas.microsoft.com/office/drawing/2014/main" id="{34A3941A-8E46-41AE-A2FC-7C64DE0CCF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2" name="Gutter 10">
                <a:extLst>
                  <a:ext uri="{FF2B5EF4-FFF2-40B4-BE49-F238E27FC236}">
                    <a16:creationId xmlns:a16="http://schemas.microsoft.com/office/drawing/2014/main" id="{6ADDA395-AC00-491F-A4B6-EF63A642B1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3" name="Gutter 9">
                <a:extLst>
                  <a:ext uri="{FF2B5EF4-FFF2-40B4-BE49-F238E27FC236}">
                    <a16:creationId xmlns:a16="http://schemas.microsoft.com/office/drawing/2014/main" id="{EA9AA6B1-19A9-43A4-9EA4-70096AF46D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4" name="Gutter 8">
                <a:extLst>
                  <a:ext uri="{FF2B5EF4-FFF2-40B4-BE49-F238E27FC236}">
                    <a16:creationId xmlns:a16="http://schemas.microsoft.com/office/drawing/2014/main" id="{AA48BA28-97E0-4598-90F5-DAF5D711E3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5" name="Gutter 7">
                <a:extLst>
                  <a:ext uri="{FF2B5EF4-FFF2-40B4-BE49-F238E27FC236}">
                    <a16:creationId xmlns:a16="http://schemas.microsoft.com/office/drawing/2014/main" id="{AFB32A23-81C3-4828-AA3A-318C322599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6" name="Gutter 6">
                <a:extLst>
                  <a:ext uri="{FF2B5EF4-FFF2-40B4-BE49-F238E27FC236}">
                    <a16:creationId xmlns:a16="http://schemas.microsoft.com/office/drawing/2014/main" id="{9C397F28-F115-4AFC-A2F7-12CC600C0C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7" name="Gutter 5">
                <a:extLst>
                  <a:ext uri="{FF2B5EF4-FFF2-40B4-BE49-F238E27FC236}">
                    <a16:creationId xmlns:a16="http://schemas.microsoft.com/office/drawing/2014/main" id="{B032A427-178B-4F34-A99B-0E18716725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8" name="Gutter 4">
                <a:extLst>
                  <a:ext uri="{FF2B5EF4-FFF2-40B4-BE49-F238E27FC236}">
                    <a16:creationId xmlns:a16="http://schemas.microsoft.com/office/drawing/2014/main" id="{0BB5422B-26B0-4F82-B6EE-61FF065DEA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9" name="Gutter 3">
                <a:extLst>
                  <a:ext uri="{FF2B5EF4-FFF2-40B4-BE49-F238E27FC236}">
                    <a16:creationId xmlns:a16="http://schemas.microsoft.com/office/drawing/2014/main" id="{728D2EB4-3664-493C-906F-579BFB7728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50" name="Gutter 2">
                <a:extLst>
                  <a:ext uri="{FF2B5EF4-FFF2-40B4-BE49-F238E27FC236}">
                    <a16:creationId xmlns:a16="http://schemas.microsoft.com/office/drawing/2014/main" id="{458517CE-FE61-448E-826D-E5BE1790F9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51" name="Gutter 1">
                <a:extLst>
                  <a:ext uri="{FF2B5EF4-FFF2-40B4-BE49-F238E27FC236}">
                    <a16:creationId xmlns:a16="http://schemas.microsoft.com/office/drawing/2014/main" id="{F6A0BBD7-91EE-4FD2-90CA-039A62C651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grpSp>
          <p:nvGrpSpPr>
            <p:cNvPr id="12" name="Baselines/Anchors">
              <a:extLst>
                <a:ext uri="{FF2B5EF4-FFF2-40B4-BE49-F238E27FC236}">
                  <a16:creationId xmlns:a16="http://schemas.microsoft.com/office/drawing/2014/main" id="{93B481EF-4631-4D96-B816-87BAD875188A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21" name="Line 20">
                <a:extLst>
                  <a:ext uri="{FF2B5EF4-FFF2-40B4-BE49-F238E27FC236}">
                    <a16:creationId xmlns:a16="http://schemas.microsoft.com/office/drawing/2014/main" id="{00AE92A2-1C69-4DB7-BF0B-2E61223DC5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Line 19">
                <a:extLst>
                  <a:ext uri="{FF2B5EF4-FFF2-40B4-BE49-F238E27FC236}">
                    <a16:creationId xmlns:a16="http://schemas.microsoft.com/office/drawing/2014/main" id="{B0CD2BB1-8F95-4C45-ADED-8297A4205D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" name="Line 18">
                <a:extLst>
                  <a:ext uri="{FF2B5EF4-FFF2-40B4-BE49-F238E27FC236}">
                    <a16:creationId xmlns:a16="http://schemas.microsoft.com/office/drawing/2014/main" id="{4B8953C6-9FE8-4A5F-AEA9-A8B004785B3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Line 17">
                <a:extLst>
                  <a:ext uri="{FF2B5EF4-FFF2-40B4-BE49-F238E27FC236}">
                    <a16:creationId xmlns:a16="http://schemas.microsoft.com/office/drawing/2014/main" id="{B184ECEE-D5FE-4A40-B820-A85346EC0F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5" name="Line 16">
                <a:extLst>
                  <a:ext uri="{FF2B5EF4-FFF2-40B4-BE49-F238E27FC236}">
                    <a16:creationId xmlns:a16="http://schemas.microsoft.com/office/drawing/2014/main" id="{15887067-88E1-4FDA-A9C4-F377DA24675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Line 15">
                <a:extLst>
                  <a:ext uri="{FF2B5EF4-FFF2-40B4-BE49-F238E27FC236}">
                    <a16:creationId xmlns:a16="http://schemas.microsoft.com/office/drawing/2014/main" id="{71E4FF41-A0A1-46AB-8E05-E8FAA64B3A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7" name="Line 14">
                <a:extLst>
                  <a:ext uri="{FF2B5EF4-FFF2-40B4-BE49-F238E27FC236}">
                    <a16:creationId xmlns:a16="http://schemas.microsoft.com/office/drawing/2014/main" id="{EFDF4DAD-906B-4B43-9E88-5DE76337A4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8" name="Line 13">
                <a:extLst>
                  <a:ext uri="{FF2B5EF4-FFF2-40B4-BE49-F238E27FC236}">
                    <a16:creationId xmlns:a16="http://schemas.microsoft.com/office/drawing/2014/main" id="{232AA217-F382-4A18-A9E1-75B4AE56DBD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9" name="Line 12">
                <a:extLst>
                  <a:ext uri="{FF2B5EF4-FFF2-40B4-BE49-F238E27FC236}">
                    <a16:creationId xmlns:a16="http://schemas.microsoft.com/office/drawing/2014/main" id="{7DBF5423-8FA4-4556-B463-C0FCB04CF7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0" name="Line 11">
                <a:extLst>
                  <a:ext uri="{FF2B5EF4-FFF2-40B4-BE49-F238E27FC236}">
                    <a16:creationId xmlns:a16="http://schemas.microsoft.com/office/drawing/2014/main" id="{DE0554CE-7DE2-4741-91B0-EC503CBB42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Line 10">
                <a:extLst>
                  <a:ext uri="{FF2B5EF4-FFF2-40B4-BE49-F238E27FC236}">
                    <a16:creationId xmlns:a16="http://schemas.microsoft.com/office/drawing/2014/main" id="{C089A780-0822-4EF7-992C-40055CC938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2" name="Line 9">
                <a:extLst>
                  <a:ext uri="{FF2B5EF4-FFF2-40B4-BE49-F238E27FC236}">
                    <a16:creationId xmlns:a16="http://schemas.microsoft.com/office/drawing/2014/main" id="{4ECBB0C6-48E2-4D6B-A655-6BB79F6C02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" name="Line 8">
                <a:extLst>
                  <a:ext uri="{FF2B5EF4-FFF2-40B4-BE49-F238E27FC236}">
                    <a16:creationId xmlns:a16="http://schemas.microsoft.com/office/drawing/2014/main" id="{C2416014-6D3A-4C9D-AC4F-266CC8E4F8D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4" name="Line 7">
                <a:extLst>
                  <a:ext uri="{FF2B5EF4-FFF2-40B4-BE49-F238E27FC236}">
                    <a16:creationId xmlns:a16="http://schemas.microsoft.com/office/drawing/2014/main" id="{E1B75780-72D3-45E7-86BF-4630B6EB7E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Line 6">
                <a:extLst>
                  <a:ext uri="{FF2B5EF4-FFF2-40B4-BE49-F238E27FC236}">
                    <a16:creationId xmlns:a16="http://schemas.microsoft.com/office/drawing/2014/main" id="{14D73DA3-0642-4E03-BFDD-1AC7317F83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Line 5">
                <a:extLst>
                  <a:ext uri="{FF2B5EF4-FFF2-40B4-BE49-F238E27FC236}">
                    <a16:creationId xmlns:a16="http://schemas.microsoft.com/office/drawing/2014/main" id="{1E24A326-C38A-4E16-B69A-B4E8B339EA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7" name="Line 4">
                <a:extLst>
                  <a:ext uri="{FF2B5EF4-FFF2-40B4-BE49-F238E27FC236}">
                    <a16:creationId xmlns:a16="http://schemas.microsoft.com/office/drawing/2014/main" id="{840EF394-0D3F-4E4D-99E0-7A10E4DF33D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Line 3">
                <a:extLst>
                  <a:ext uri="{FF2B5EF4-FFF2-40B4-BE49-F238E27FC236}">
                    <a16:creationId xmlns:a16="http://schemas.microsoft.com/office/drawing/2014/main" id="{0D50A9A9-D079-4C84-A5D3-0C269920F0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9" name="Line 2">
                <a:extLst>
                  <a:ext uri="{FF2B5EF4-FFF2-40B4-BE49-F238E27FC236}">
                    <a16:creationId xmlns:a16="http://schemas.microsoft.com/office/drawing/2014/main" id="{A043AC16-C6D7-45EB-A54A-94331C160A8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40" name="Line 1">
                <a:extLst>
                  <a:ext uri="{FF2B5EF4-FFF2-40B4-BE49-F238E27FC236}">
                    <a16:creationId xmlns:a16="http://schemas.microsoft.com/office/drawing/2014/main" id="{2C2FEFEA-0BCE-463A-8F46-8FD064D3CB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3" name="Five column measure">
              <a:extLst>
                <a:ext uri="{FF2B5EF4-FFF2-40B4-BE49-F238E27FC236}">
                  <a16:creationId xmlns:a16="http://schemas.microsoft.com/office/drawing/2014/main" id="{75EB9134-6932-4A72-930D-CEE153817730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6" name="Column 5">
                <a:extLst>
                  <a:ext uri="{FF2B5EF4-FFF2-40B4-BE49-F238E27FC236}">
                    <a16:creationId xmlns:a16="http://schemas.microsoft.com/office/drawing/2014/main" id="{8D20D737-BBD7-49C6-BC7A-619407E765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7" name="Column 4">
                <a:extLst>
                  <a:ext uri="{FF2B5EF4-FFF2-40B4-BE49-F238E27FC236}">
                    <a16:creationId xmlns:a16="http://schemas.microsoft.com/office/drawing/2014/main" id="{7E68FFEC-9143-4A1C-9D00-0D10C02061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8" name="Column 3">
                <a:extLst>
                  <a:ext uri="{FF2B5EF4-FFF2-40B4-BE49-F238E27FC236}">
                    <a16:creationId xmlns:a16="http://schemas.microsoft.com/office/drawing/2014/main" id="{76284A06-13DB-4877-B21B-972ECF05CE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9" name="Column 2">
                <a:extLst>
                  <a:ext uri="{FF2B5EF4-FFF2-40B4-BE49-F238E27FC236}">
                    <a16:creationId xmlns:a16="http://schemas.microsoft.com/office/drawing/2014/main" id="{06B5B20C-0E7D-418E-9B80-7E2178D3B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20" name="Column 1">
                <a:extLst>
                  <a:ext uri="{FF2B5EF4-FFF2-40B4-BE49-F238E27FC236}">
                    <a16:creationId xmlns:a16="http://schemas.microsoft.com/office/drawing/2014/main" id="{9D23A270-FD6A-40FA-8C3F-E665DC0FC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sp>
          <p:nvSpPr>
            <p:cNvPr id="14" name="Live space">
              <a:extLst>
                <a:ext uri="{FF2B5EF4-FFF2-40B4-BE49-F238E27FC236}">
                  <a16:creationId xmlns:a16="http://schemas.microsoft.com/office/drawing/2014/main" id="{9E7D9C51-01F9-4E70-91D2-50DD95F73F21}"/>
                </a:ext>
              </a:extLst>
            </p:cNvPr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rgbClr val="545454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00137F33-D17C-4487-96B7-6531DAF5534F}"/>
                </a:ext>
              </a:extLst>
            </p:cNvPr>
            <p:cNvSpPr txBox="1">
              <a:spLocks noChangeAspect="1"/>
            </p:cNvSpPr>
            <p:nvPr userDrawn="1"/>
          </p:nvSpPr>
          <p:spPr bwMode="auto">
            <a:xfrm>
              <a:off x="629444" y="6099175"/>
              <a:ext cx="7283748" cy="4619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A6A6A6"/>
                  </a:solidFill>
                  <a:latin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lang="en-US" altLang="en-US" sz="1000">
                <a:solidFill>
                  <a:srgbClr val="A6A6A6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2" name="Date Placeholder 1">
            <a:extLst>
              <a:ext uri="{FF2B5EF4-FFF2-40B4-BE49-F238E27FC236}">
                <a16:creationId xmlns:a16="http://schemas.microsoft.com/office/drawing/2014/main" id="{D86E00FC-A16F-4A9B-9B8A-9041360B1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5080987-94DB-4B61-9392-B9B7184F5E4D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61168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nelWhite">
            <a:extLst>
              <a:ext uri="{FF2B5EF4-FFF2-40B4-BE49-F238E27FC236}">
                <a16:creationId xmlns:a16="http://schemas.microsoft.com/office/drawing/2014/main" id="{DEC9A61C-7C35-42DB-90FF-7983D788320B}"/>
              </a:ext>
            </a:extLst>
          </p:cNvPr>
          <p:cNvSpPr/>
          <p:nvPr userDrawn="1"/>
        </p:nvSpPr>
        <p:spPr>
          <a:xfrm>
            <a:off x="0" y="5278438"/>
            <a:ext cx="12192000" cy="157956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Shadow">
            <a:extLst>
              <a:ext uri="{FF2B5EF4-FFF2-40B4-BE49-F238E27FC236}">
                <a16:creationId xmlns:a16="http://schemas.microsoft.com/office/drawing/2014/main" id="{5773663B-63BA-4441-8569-F7314FDCEA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" t="102" r="8742" b="1730"/>
          <a:stretch>
            <a:fillRect/>
          </a:stretch>
        </p:blipFill>
        <p:spPr bwMode="auto">
          <a:xfrm>
            <a:off x="3751263" y="5094288"/>
            <a:ext cx="8440737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:a16="http://schemas.microsoft.com/office/drawing/2014/main" id="{24AE517D-FD8A-4FEE-8D02-576844ABFA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404" r="38" b="24950"/>
          <a:stretch>
            <a:fillRect/>
          </a:stretch>
        </p:blipFill>
        <p:spPr bwMode="auto">
          <a:xfrm>
            <a:off x="-17463" y="0"/>
            <a:ext cx="12218988" cy="52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>
            <a:extLst>
              <a:ext uri="{FF2B5EF4-FFF2-40B4-BE49-F238E27FC236}">
                <a16:creationId xmlns:a16="http://schemas.microsoft.com/office/drawing/2014/main" id="{1DC4013C-DE6F-4DD3-A2AE-B1DC480CDA51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71525" y="1509713"/>
            <a:ext cx="7913688" cy="4646612"/>
          </a:xfrm>
          <a:prstGeom prst="rect">
            <a:avLst/>
          </a:prstGeom>
          <a:gradFill rotWithShape="0">
            <a:gsLst>
              <a:gs pos="0">
                <a:srgbClr val="071117"/>
              </a:gs>
              <a:gs pos="100000">
                <a:srgbClr val="295E7E">
                  <a:alpha val="89999"/>
                </a:srgbClr>
              </a:gs>
            </a:gsLst>
            <a:lin ang="8400000"/>
          </a:gra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1000"/>
              </a:spcAft>
              <a:defRPr/>
            </a:pPr>
            <a:endParaRPr lang="en-US" alt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2" descr="Image result for министерство труда казахстана logo">
            <a:extLst>
              <a:ext uri="{FF2B5EF4-FFF2-40B4-BE49-F238E27FC236}">
                <a16:creationId xmlns:a16="http://schemas.microsoft.com/office/drawing/2014/main" id="{3D150162-CA00-4364-B304-06F755DE65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701800"/>
            <a:ext cx="901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4">
            <a:extLst>
              <a:ext uri="{FF2B5EF4-FFF2-40B4-BE49-F238E27FC236}">
                <a16:creationId xmlns:a16="http://schemas.microsoft.com/office/drawing/2014/main" id="{B7914CD7-03B1-47C4-B56B-6B1BD94741E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516437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Министерство труда и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социальной защиты населения</a:t>
            </a:r>
            <a:endParaRPr lang="en-US" altLang="en-US" sz="1400" b="1">
              <a:solidFill>
                <a:srgbClr val="FFFFFF"/>
              </a:solidFill>
              <a:latin typeface="Trebuchet MS" panose="020B0603020202020204" pitchFamily="34" charset="0"/>
            </a:endParaRP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Республики Казахстан</a:t>
            </a:r>
          </a:p>
        </p:txBody>
      </p:sp>
      <p:sp>
        <p:nvSpPr>
          <p:cNvPr id="14" name="Logo Placeholder"/>
          <p:cNvSpPr>
            <a:spLocks noGrp="1"/>
          </p:cNvSpPr>
          <p:nvPr>
            <p:ph type="pic" sz="quarter" idx="13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2" name="Title 1"/>
          <p:cNvSpPr>
            <a:spLocks noGrp="1"/>
          </p:cNvSpPr>
          <p:nvPr>
            <p:ph type="ctrTitle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310380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3F957B94-26EB-44AC-98D8-D1779EB3E5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5361E4-9706-4AC3-845C-04B96D73B645}" type="datetime1">
              <a:rPr lang="en-US" smtClean="0"/>
              <a:t>5/25/2021</a:t>
            </a:fld>
            <a:endParaRPr lang="en-US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30D02BDB-6E55-4997-BC2C-325B5F71F8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19C2FD1E-D726-45BD-BC8A-6F8D43AE0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1C6E5D-608C-4D80-A92C-363E2618163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201704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18C5D88E-12BF-497F-A5E0-B0A023F70F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5842" name="Object 1" hidden="1">
                        <a:extLst>
                          <a:ext uri="{FF2B5EF4-FFF2-40B4-BE49-F238E27FC236}">
                            <a16:creationId xmlns:a16="http://schemas.microsoft.com/office/drawing/2014/main" id="{6482D14F-1A40-4C8C-B2F0-6D32D154885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F1E35532-7227-4935-81E9-543FF6C7AE6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617CE7E-40DE-4348-9D6C-6960768AE3C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35D7D049-211A-4176-A13F-07DD737DBA2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56">
            <a:extLst>
              <a:ext uri="{FF2B5EF4-FFF2-40B4-BE49-F238E27FC236}">
                <a16:creationId xmlns:a16="http://schemas.microsoft.com/office/drawing/2014/main" id="{AB1FEF0D-15C2-4C8E-83BC-A070FE4EF9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5CE7B91-CBD9-4EBA-B410-DDD57FA5D144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59353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51462A46-721F-449F-B175-F89F40BF39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6866" name="Object 1" hidden="1">
                        <a:extLst>
                          <a:ext uri="{FF2B5EF4-FFF2-40B4-BE49-F238E27FC236}">
                            <a16:creationId xmlns:a16="http://schemas.microsoft.com/office/drawing/2014/main" id="{1315B1B4-DA5D-4549-8CB2-79099F74C8C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age">
            <a:extLst>
              <a:ext uri="{FF2B5EF4-FFF2-40B4-BE49-F238E27FC236}">
                <a16:creationId xmlns:a16="http://schemas.microsoft.com/office/drawing/2014/main" id="{46792E52-E34C-4A9B-BAD5-EE59A5CAF5A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6B0CDEE-7066-4773-B7CD-6997157D5181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PanelGray">
            <a:extLst>
              <a:ext uri="{FF2B5EF4-FFF2-40B4-BE49-F238E27FC236}">
                <a16:creationId xmlns:a16="http://schemas.microsoft.com/office/drawing/2014/main" id="{AF896A6E-9988-42EA-91B9-84D1F55FAB87}"/>
              </a:ext>
            </a:extLst>
          </p:cNvPr>
          <p:cNvSpPr/>
          <p:nvPr userDrawn="1"/>
        </p:nvSpPr>
        <p:spPr bwMode="white">
          <a:xfrm>
            <a:off x="0" y="-1588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45C5CF16-4FF2-4CA4-B1B8-986F7C6AF188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775385" y="2158989"/>
            <a:ext cx="3640123" cy="5416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/>
          </p:nvPr>
        </p:nvSpPr>
        <p:spPr>
          <a:xfrm>
            <a:off x="775385" y="1227050"/>
            <a:ext cx="3640123" cy="664797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6F2D5FD0-262C-4341-BB1A-5EC07E6CF92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B373B96-0B1B-412B-AF80-4C334B01259E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13988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06160DFB-954E-4FFD-BAE8-8A389D0C0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7890" name="Object 1" hidden="1">
                        <a:extLst>
                          <a:ext uri="{FF2B5EF4-FFF2-40B4-BE49-F238E27FC236}">
                            <a16:creationId xmlns:a16="http://schemas.microsoft.com/office/drawing/2014/main" id="{CC5D9AC5-79CB-4B20-A5C8-3E0177BF838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8FAAB1E8-CD19-461B-B6C6-2D24810182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C9DF5F0-A1A9-4C84-BAA3-CC39037B7F3E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:a16="http://schemas.microsoft.com/office/drawing/2014/main" id="{408BE4D9-D428-4D46-98DB-F61D2D4F901D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090613" y="1457325"/>
            <a:ext cx="1127125" cy="91916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DD6CC91F-0C34-490F-AF91-3392E0D794FB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3538" cy="3201026"/>
          </a:xfrm>
          <a:prstGeom prst="rect">
            <a:avLst/>
          </a:prstGeom>
          <a:ln w="9525">
            <a:noFill/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8">
            <a:extLst>
              <a:ext uri="{FF2B5EF4-FFF2-40B4-BE49-F238E27FC236}">
                <a16:creationId xmlns:a16="http://schemas.microsoft.com/office/drawing/2014/main" id="{A569B31B-DEE4-4507-A718-ACFA19D33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EBE9CFA-B52C-43E4-8FEE-4E100A2DDCF8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963473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07F91B52-C2D7-48F9-BC18-1FB47F5776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38914" name="Object 1" hidden="1">
                        <a:extLst>
                          <a:ext uri="{FF2B5EF4-FFF2-40B4-BE49-F238E27FC236}">
                            <a16:creationId xmlns:a16="http://schemas.microsoft.com/office/drawing/2014/main" id="{CE66BAFB-FE36-47E8-8497-7F3336D51D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2EA61287-2204-45EA-9EDD-A845A8D29EB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17E7816-F5DA-48D1-933F-3CC494EED1F5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5" name="Line">
            <a:extLst>
              <a:ext uri="{FF2B5EF4-FFF2-40B4-BE49-F238E27FC236}">
                <a16:creationId xmlns:a16="http://schemas.microsoft.com/office/drawing/2014/main" id="{7C7330EB-FEFB-4801-958F-3703A33CF012}"/>
              </a:ext>
            </a:extLst>
          </p:cNvPr>
          <p:cNvCxnSpPr/>
          <p:nvPr userDrawn="1"/>
        </p:nvCxnSpPr>
        <p:spPr bwMode="white">
          <a:xfrm>
            <a:off x="774700" y="3683000"/>
            <a:ext cx="1141888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8">
            <a:extLst>
              <a:ext uri="{FF2B5EF4-FFF2-40B4-BE49-F238E27FC236}">
                <a16:creationId xmlns:a16="http://schemas.microsoft.com/office/drawing/2014/main" id="{E78C93D0-2765-44B1-AF29-6225266590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E8B9923-E5EA-48F0-A27A-335E4ADB9D3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8810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3A97E513-C498-427F-84E6-AE9771C593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E326E6DC-843D-4908-9E37-C4AAADA05E04}"/>
              </a:ext>
            </a:extLst>
          </p:cNvPr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BAA5381B-01B3-4505-9CDB-15FE46839A6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BFF3F89-AF08-4F36-9CE8-D9F63D8700B0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F1F11EFF-2E01-485F-8990-2815934A078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5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0D70B90F-2E6B-48B3-AFA6-3EAF1294D7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AE44058-DD7C-4A9E-9040-4C4131A5D32B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27069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B734A16B-8F98-4FD7-BFF0-BC3CD6870F4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:a16="http://schemas.microsoft.com/office/drawing/2014/main" id="{460299BE-1C52-437D-90F4-99040D33446F}"/>
              </a:ext>
            </a:extLst>
          </p:cNvPr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78A499D9-7335-4D75-95FB-169A5DA87F1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5746953-D43D-4852-9E8D-79513AF1A93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84959392-A26F-4E18-ADC2-47F241CC71E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84150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19A2BA2F-D5B6-4EF8-AF52-D10C90E341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2FA6FF58-9DF4-4EBC-A294-7B128A428C3D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033250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1519CE45-51F8-4CA2-9004-32CC19A07FF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7F21298-9B5E-4413-8E4C-8F4AC7DF3F8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" name="Shadow">
            <a:extLst>
              <a:ext uri="{FF2B5EF4-FFF2-40B4-BE49-F238E27FC236}">
                <a16:creationId xmlns:a16="http://schemas.microsoft.com/office/drawing/2014/main" id="{C8402402-218B-48D9-A496-242C794EEC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8961438" y="0"/>
            <a:ext cx="51276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:a16="http://schemas.microsoft.com/office/drawing/2014/main" id="{C7600CD7-030F-4EA2-8E29-5449B7577821}"/>
              </a:ext>
            </a:extLst>
          </p:cNvPr>
          <p:cNvSpPr/>
          <p:nvPr userDrawn="1"/>
        </p:nvSpPr>
        <p:spPr bwMode="white">
          <a:xfrm>
            <a:off x="0" y="0"/>
            <a:ext cx="89677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9EB5798E-B8B4-4AA6-9E94-A327F963051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790968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EAAF2752-938F-40A3-96EF-3A3A92E98A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13E9E9C-2E02-4E8B-8823-11AF9743EAD9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377773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CBB9F84A-D1A7-4A33-8D77-D015D37F3E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:a16="http://schemas.microsoft.com/office/drawing/2014/main" id="{04E898ED-F6A9-4C06-B36C-8EE3E6CD133D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CBC9EA9D-5096-4675-B274-DDDB4D5AA49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6FB1422-1A5F-4EFC-AD53-69CD1EB2D607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EAC21DFA-6F69-41FF-ABB7-24CAC9555893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4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855204CA-337C-4157-B9AB-45F84DD80A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FA69675-2B59-4E3D-B492-7EFB9B674F2C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1513018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:a16="http://schemas.microsoft.com/office/drawing/2014/main" id="{0D1E7ADD-D111-45E3-8403-0111D74505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:a16="http://schemas.microsoft.com/office/drawing/2014/main" id="{FCBFFFE6-718A-4B11-A2EF-589C64BB461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:a16="http://schemas.microsoft.com/office/drawing/2014/main" id="{33CD89D7-BD92-4363-98EB-16A0025F878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75FC17D-EF3F-429C-9D7C-5F9676C5144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1D140E86-9425-4F59-8409-9E30DFF375C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4271262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9BAFFCB1-2A93-4FAB-B36A-BA51CFE92E1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C131AD5-8C7A-497B-B8AA-C4A4D028380B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610569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:a16="http://schemas.microsoft.com/office/drawing/2014/main" id="{8181FA29-260B-41B1-AF0A-A88499B439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White">
            <a:extLst>
              <a:ext uri="{FF2B5EF4-FFF2-40B4-BE49-F238E27FC236}">
                <a16:creationId xmlns:a16="http://schemas.microsoft.com/office/drawing/2014/main" id="{3456BB96-2D54-48D1-A904-2643E0D9A9FC}"/>
              </a:ext>
            </a:extLst>
          </p:cNvPr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:a16="http://schemas.microsoft.com/office/drawing/2014/main" id="{71BB6D13-BA7C-4D20-8899-9C8278E4B95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1B6D0816-B7E5-40C6-9ACA-7A9C24C94E8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EFF2E1C9-A45F-4EF8-9BC0-B2B1E5D97B27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 bwMode="black">
          <a:xfrm>
            <a:off x="775385" y="1785600"/>
            <a:ext cx="60878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68EE21F7-845A-4965-90E2-9D3FF583A18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3DD0A50-796C-48DE-8031-20992D924F7B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728655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id="{F4591480-3E7B-4598-A35C-8DFA7197E1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D78417-6EFE-49E0-827F-0D34510C377D}" type="datetime1">
              <a:rPr lang="en-US" smtClean="0"/>
              <a:t>5/25/2021</a:t>
            </a:fld>
            <a:endParaRPr lang="en-US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82076BBF-55B3-4AA7-B287-D8582C1465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68B6E218-DDAB-411E-9BFC-3D5CCAB91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82A77F-378A-416F-8DAD-12B6F6A09F3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7228604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3DED87F4-FCE4-46E5-8C13-89B0E7506BC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:a16="http://schemas.microsoft.com/office/drawing/2014/main" id="{432838CC-D29B-4123-A467-B384C958CF06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B59570F4-CDA3-4C35-B668-91E66ABAD9B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BE3AACB-04C3-47F7-98D0-DEAD1C3C7C13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2CE153BF-0E54-48BF-8B72-696A0C72256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C24D7EED-6556-49EE-9597-FAB9066A6C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BB36503-852A-4C44-A136-55EF919C4341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03145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:a16="http://schemas.microsoft.com/office/drawing/2014/main" id="{B1E7FEE2-F2E4-4B61-87ED-3B209FF78FC5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BD9430E5-22AF-4CD2-983F-91DDD6AA4A9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2D9E593-3D2A-415F-B656-3FFC97EB8166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B46FBC60-56E8-4F5A-965F-8378595CA04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7" name="Picture 10">
            <a:extLst>
              <a:ext uri="{FF2B5EF4-FFF2-40B4-BE49-F238E27FC236}">
                <a16:creationId xmlns:a16="http://schemas.microsoft.com/office/drawing/2014/main" id="{05BFECBA-357C-43A8-9920-D4D231CC1A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2DF1293-98A9-47D6-951C-BDD42CAEFB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874CAAC-0CC7-462F-8B43-B2F0C051FCA9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872440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68D6CA6D-256C-4537-81DB-A2D056BCF0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613" y="3395663"/>
            <a:ext cx="15970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:a16="http://schemas.microsoft.com/office/drawing/2014/main" id="{7E1F307F-F697-494B-A9D4-DA88C6FAD64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3F5FD488-BFD9-4829-B146-24E056854F3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BD98F93-AA7A-40B6-B762-8F90E5587BC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B9787772-4FFF-4E05-9835-2CF39FD6635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BFC94828-1791-4F38-8FE1-E8E6E5944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7A6A9F5E-FED8-4AD1-A1F0-3FD477C39820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912544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:a16="http://schemas.microsoft.com/office/drawing/2014/main" id="{536FFA37-3F7C-46C4-9A9F-DFE943353A8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E10F8861-9EA9-442E-96D9-A259587D424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0D2ABCC-A221-4E8B-9E0D-E8A807EBAFBA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51A72C6B-7CFA-4FAA-8673-CC8A0E4FEB8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A81F3241-C2CA-433B-9AF8-AC0C649BA1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DC654D4-2BB5-47C5-9E68-118A0A4B1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16F7DDB-876F-4024-BC2B-56428BE4E850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55153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DF9EEC10-C03B-4C45-B3C1-C7CC468AB5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50178" name="Object 1" hidden="1">
                        <a:extLst>
                          <a:ext uri="{FF2B5EF4-FFF2-40B4-BE49-F238E27FC236}">
                            <a16:creationId xmlns:a16="http://schemas.microsoft.com/office/drawing/2014/main" id="{FD7A9FAA-1972-470E-B0C9-A54EB701D70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Shadow">
            <a:extLst>
              <a:ext uri="{FF2B5EF4-FFF2-40B4-BE49-F238E27FC236}">
                <a16:creationId xmlns:a16="http://schemas.microsoft.com/office/drawing/2014/main" id="{BFF833F1-6BA0-4201-A6B5-8F78172110E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350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rrowPanelWhite">
            <a:extLst>
              <a:ext uri="{FF2B5EF4-FFF2-40B4-BE49-F238E27FC236}">
                <a16:creationId xmlns:a16="http://schemas.microsoft.com/office/drawing/2014/main" id="{452A29ED-E54D-45B6-8557-22B0535435E4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>
            <a:extLst>
              <a:ext uri="{FF2B5EF4-FFF2-40B4-BE49-F238E27FC236}">
                <a16:creationId xmlns:a16="http://schemas.microsoft.com/office/drawing/2014/main" id="{6F38C5A7-8A87-494E-B4CF-7AD1B8B5ABE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ECD51D3E-55FD-4C9A-844A-31B13ED91D60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FooterSimple" hidden="1">
            <a:extLst>
              <a:ext uri="{FF2B5EF4-FFF2-40B4-BE49-F238E27FC236}">
                <a16:creationId xmlns:a16="http://schemas.microsoft.com/office/drawing/2014/main" id="{240F0218-0381-4F6B-8AF6-6DB09E00D67A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8C76FF5B-BDF2-43BF-A891-C5ECA6243C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3CFA76B-5078-4A53-980E-21191CB5E2EE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1007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PanelWhite">
            <a:extLst>
              <a:ext uri="{FF2B5EF4-FFF2-40B4-BE49-F238E27FC236}">
                <a16:creationId xmlns:a16="http://schemas.microsoft.com/office/drawing/2014/main" id="{EA2BBE0F-AB9E-4925-AC42-5BDA0D50DCA8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C61D67E3-CA79-46B1-A854-22421273269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B00D1B5-F1DD-4B25-8438-5FCB319A075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142A84F0-A5B1-41C8-9A4F-94D95A9284E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7" name="Picture 10">
            <a:extLst>
              <a:ext uri="{FF2B5EF4-FFF2-40B4-BE49-F238E27FC236}">
                <a16:creationId xmlns:a16="http://schemas.microsoft.com/office/drawing/2014/main" id="{DBD385BC-0A9B-43F9-96D3-525DEBBCEB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F9D0B9A3-FA7F-41F2-BFE8-15DBD114E1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E6F78677-C603-4AEC-954B-C89CDB09F369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564770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F9DD4CF3-B129-43A3-9EE9-B1C18888C5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138" y="3594100"/>
            <a:ext cx="1679575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:a16="http://schemas.microsoft.com/office/drawing/2014/main" id="{B13E9D0A-3457-41D6-A2F3-6BD47FB0B381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0AC380FC-FAD6-4A52-AC26-6F76500A07A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7F6A0C7-E2AA-4EB2-A3E4-6FD81BA52DF4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9DEB12BB-B453-413C-8E93-09453B7001B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9ABB5710-CA11-4A82-A653-9418623397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00425DF-1B2B-4E50-9731-41D97341201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143458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>
            <a:extLst>
              <a:ext uri="{FF2B5EF4-FFF2-40B4-BE49-F238E27FC236}">
                <a16:creationId xmlns:a16="http://schemas.microsoft.com/office/drawing/2014/main" id="{DF90C4B8-23BC-40B6-A929-B9D3FE416680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EEDC4EC8-2422-482E-B25A-49EC6D5480D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48B1FE18-BDA6-4DF8-948C-157305D76AB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3C00BEAF-9B75-4410-B808-31B9B34DBB0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7">
            <a:extLst>
              <a:ext uri="{FF2B5EF4-FFF2-40B4-BE49-F238E27FC236}">
                <a16:creationId xmlns:a16="http://schemas.microsoft.com/office/drawing/2014/main" id="{2DDDF19D-8A9B-4CE1-8018-549CF9025D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1236DD5E-1CC4-482C-A589-302292A68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A0E11AA-A91E-4D6F-8458-2B67E17D9FB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40028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71C39643-24E2-448C-8A4C-959A39A20E5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3818375-C96D-4AAE-9037-7E0CF5BF103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6E65E449-54CF-4654-84A1-42CC1045A72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B27515-94DA-4B89-B74D-3A6EB5EF45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93DD8AA-EC66-4CD3-BE84-48C4E2E925C9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372260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74C059C3-1DDF-4829-A95B-3AC2F72EC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55298" name="Object 1" hidden="1">
                        <a:extLst>
                          <a:ext uri="{FF2B5EF4-FFF2-40B4-BE49-F238E27FC236}">
                            <a16:creationId xmlns:a16="http://schemas.microsoft.com/office/drawing/2014/main" id="{8BCCEFA4-C2AA-4167-8991-7F1873F946F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136FAE2B-BBDB-425F-8CDE-DACDEF88E20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D297084-0DDF-4AAC-B10E-B5D582C0593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:a16="http://schemas.microsoft.com/office/drawing/2014/main" id="{ED0A3E3D-61A0-439B-B86C-BF9D274BBDAE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774700" y="622300"/>
            <a:ext cx="1130300" cy="919163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29572953-F48C-4D86-9C36-D1128F265D9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D37C510-DD37-44A2-969F-F5EFDF084F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8AABD326-DA03-4825-A700-D9C2EADC581C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32225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2A9FACFA-1765-4BA7-9036-9A95427AF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1FB9F1-2862-45B9-8F30-F32B77856CD3}" type="datetime1">
              <a:rPr lang="en-US" smtClean="0"/>
              <a:t>5/25/2021</a:t>
            </a:fld>
            <a:endParaRPr lang="en-US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EECF07CF-77A6-4D54-9367-7B63628DA0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75F9197A-485B-4463-8628-0E687BDC5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884D90-66F4-48FB-BA38-D703BB3281B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5700311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:a16="http://schemas.microsoft.com/office/drawing/2014/main" id="{FEB8A901-FAB2-45E8-AE8B-21691CA9F8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age">
            <a:extLst>
              <a:ext uri="{FF2B5EF4-FFF2-40B4-BE49-F238E27FC236}">
                <a16:creationId xmlns:a16="http://schemas.microsoft.com/office/drawing/2014/main" id="{9419F2BA-8788-49AF-BE7B-69A7AD9FD7C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EB3B739-DD4E-4870-919F-C190A591E1C1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" name="Bubble">
            <a:extLst>
              <a:ext uri="{FF2B5EF4-FFF2-40B4-BE49-F238E27FC236}">
                <a16:creationId xmlns:a16="http://schemas.microsoft.com/office/drawing/2014/main" id="{84A07B31-CCBD-451C-9148-0C0D3CF8AE4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5" name="Rectangle 9">
              <a:extLst>
                <a:ext uri="{FF2B5EF4-FFF2-40B4-BE49-F238E27FC236}">
                  <a16:creationId xmlns:a16="http://schemas.microsoft.com/office/drawing/2014/main" id="{E1E40FE9-DFDE-42B9-8F52-4274A09CE2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6" name="Right Triangle 10">
              <a:extLst>
                <a:ext uri="{FF2B5EF4-FFF2-40B4-BE49-F238E27FC236}">
                  <a16:creationId xmlns:a16="http://schemas.microsoft.com/office/drawing/2014/main" id="{0F1CE58D-7A44-4992-B4D0-D0910E6F69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E5B9A8EF-CD47-47BC-8595-BA134E899C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CCF20F9-3D60-4BDF-9715-882A5F05BF5D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5633315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A2A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22FBD54D-9A17-4658-BF3D-DC92FAB5FBC5}"/>
              </a:ext>
            </a:extLst>
          </p:cNvPr>
          <p:cNvSpPr txBox="1">
            <a:spLocks noChangeArrowheads="1"/>
          </p:cNvSpPr>
          <p:nvPr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3005A76-F85C-475F-95B9-A755E262F4E8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83950A48-59BA-4310-BB06-39CBECD392F0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2">
            <a:extLst>
              <a:ext uri="{FF2B5EF4-FFF2-40B4-BE49-F238E27FC236}">
                <a16:creationId xmlns:a16="http://schemas.microsoft.com/office/drawing/2014/main" id="{C165F80F-1B9B-4B5D-9291-5B544968EE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D3ED68F-31B4-41B6-9684-4366A82CB3F8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96646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:a16="http://schemas.microsoft.com/office/drawing/2014/main" id="{5AF6BC70-0D2C-4F60-80D1-B53A1C6B2E1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ArrowPanelWhite">
            <a:extLst>
              <a:ext uri="{FF2B5EF4-FFF2-40B4-BE49-F238E27FC236}">
                <a16:creationId xmlns:a16="http://schemas.microsoft.com/office/drawing/2014/main" id="{0D961D2A-E188-4553-AE40-16CD4DCED03E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3267B3FC-8133-40C7-B3C3-9A22F8340CD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202E957-12E1-4EEF-B45B-93A47D68E5D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TextBox 12">
            <a:extLst>
              <a:ext uri="{FF2B5EF4-FFF2-40B4-BE49-F238E27FC236}">
                <a16:creationId xmlns:a16="http://schemas.microsoft.com/office/drawing/2014/main" id="{30C30BBE-D9B1-4F86-B51E-52A1063B365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2000" y="2711450"/>
            <a:ext cx="2738438" cy="1435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ts val="700"/>
              </a:spcAft>
              <a:defRPr/>
            </a:pPr>
            <a:r>
              <a:rPr lang="en-US" altLang="en-US" sz="4400">
                <a:solidFill>
                  <a:srgbClr val="295E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725EC828-50C6-4C9B-8A6B-759F15802E3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5FE04A86-4E50-4407-9895-8BEEEFB2DE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37B77FBF-7B57-46AA-980C-CAFC3E820DF4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352437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>
            <a:extLst>
              <a:ext uri="{FF2B5EF4-FFF2-40B4-BE49-F238E27FC236}">
                <a16:creationId xmlns:a16="http://schemas.microsoft.com/office/drawing/2014/main" id="{7407A607-5AE8-47C6-A03E-2C78EA77CC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5F0E292-12C6-4DA2-AE2F-DC0FBCE76BBC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FooterSimple" hidden="1">
            <a:extLst>
              <a:ext uri="{FF2B5EF4-FFF2-40B4-BE49-F238E27FC236}">
                <a16:creationId xmlns:a16="http://schemas.microsoft.com/office/drawing/2014/main" id="{103E4323-BFEE-43AD-A734-725AA9732E26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4" name="Date Placeholder 4">
            <a:extLst>
              <a:ext uri="{FF2B5EF4-FFF2-40B4-BE49-F238E27FC236}">
                <a16:creationId xmlns:a16="http://schemas.microsoft.com/office/drawing/2014/main" id="{2348FD7C-916A-47C2-9A3C-F825207A7B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AEA7E8D-DE2D-4717-A40C-2B2E1EAE313E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673509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D37F090-770B-480A-82DE-FCD016673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60418" name="Object 1" hidden="1">
                        <a:extLst>
                          <a:ext uri="{FF2B5EF4-FFF2-40B4-BE49-F238E27FC236}">
                            <a16:creationId xmlns:a16="http://schemas.microsoft.com/office/drawing/2014/main" id="{45055D3E-3DFB-4BCF-9318-BB91E3F04F5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29F9EEB9-805A-4A85-88AD-1E6AAAC408C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90973DB-0A16-4C00-BA11-63944CD67CA2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6A7EDA3A-CBC0-4264-BC4E-2EC4C1532D21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Date Placeholder 6">
            <a:extLst>
              <a:ext uri="{FF2B5EF4-FFF2-40B4-BE49-F238E27FC236}">
                <a16:creationId xmlns:a16="http://schemas.microsoft.com/office/drawing/2014/main" id="{764600D8-7DCF-4CF8-A592-1467D4A8E6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8C79C1D-7B11-438F-8514-B302D72B7905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978228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5F49A14-C816-41AA-B7EA-202704735B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61442" name="Object 1" hidden="1">
                        <a:extLst>
                          <a:ext uri="{FF2B5EF4-FFF2-40B4-BE49-F238E27FC236}">
                            <a16:creationId xmlns:a16="http://schemas.microsoft.com/office/drawing/2014/main" id="{13BF95F3-EAD8-4749-A72E-8DBD199C8C9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2FEB6084-5EA0-4B3C-8450-0200A563B14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2E9130B-EF8E-4A36-823F-B47268D459A3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6A94D567-59AA-4130-8ABD-22240E9C2CF4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</p:spTree>
    <p:extLst>
      <p:ext uri="{BB962C8B-B14F-4D97-AF65-F5344CB8AC3E}">
        <p14:creationId xmlns:p14="http://schemas.microsoft.com/office/powerpoint/2010/main" val="2338993333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2591485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64875E6-E970-4470-9234-4570EECF47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63490" name="Object 1" hidden="1">
                        <a:extLst>
                          <a:ext uri="{FF2B5EF4-FFF2-40B4-BE49-F238E27FC236}">
                            <a16:creationId xmlns:a16="http://schemas.microsoft.com/office/drawing/2014/main" id="{77EB893F-3D96-4718-9EFF-BE9CC9D9CBA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46A92748-C9B0-4EAF-8569-47393C61E0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B056D90-8B78-4DDA-A7B0-E1FD6E901F5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4" name="A4Grid">
            <a:extLst>
              <a:ext uri="{FF2B5EF4-FFF2-40B4-BE49-F238E27FC236}">
                <a16:creationId xmlns:a16="http://schemas.microsoft.com/office/drawing/2014/main" id="{0DD05F14-EC87-4072-9416-6D93C974B257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5" name="Slide edges">
              <a:extLst>
                <a:ext uri="{FF2B5EF4-FFF2-40B4-BE49-F238E27FC236}">
                  <a16:creationId xmlns:a16="http://schemas.microsoft.com/office/drawing/2014/main" id="{F3F40500-836D-4A74-A313-FFBC252330F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6" name="No-fly zone">
              <a:extLst>
                <a:ext uri="{FF2B5EF4-FFF2-40B4-BE49-F238E27FC236}">
                  <a16:creationId xmlns:a16="http://schemas.microsoft.com/office/drawing/2014/main" id="{2D8F9E61-4BDE-4702-94F0-946EEB5CEE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29400 w 9906000"/>
                <a:gd name="T1" fmla="*/ 622800 h 6858000"/>
                <a:gd name="T2" fmla="*/ 629400 w 9906000"/>
                <a:gd name="T3" fmla="*/ 6156000 h 6858000"/>
                <a:gd name="T4" fmla="*/ 9276600 w 9906000"/>
                <a:gd name="T5" fmla="*/ 6156000 h 6858000"/>
                <a:gd name="T6" fmla="*/ 9276600 w 9906000"/>
                <a:gd name="T7" fmla="*/ 622800 h 6858000"/>
                <a:gd name="T8" fmla="*/ 0 w 9906000"/>
                <a:gd name="T9" fmla="*/ 0 h 6858000"/>
                <a:gd name="T10" fmla="*/ 629400 w 9906000"/>
                <a:gd name="T11" fmla="*/ 0 h 6858000"/>
                <a:gd name="T12" fmla="*/ 629400 w 9906000"/>
                <a:gd name="T13" fmla="*/ 0 h 6858000"/>
                <a:gd name="T14" fmla="*/ 9276600 w 9906000"/>
                <a:gd name="T15" fmla="*/ 0 h 6858000"/>
                <a:gd name="T16" fmla="*/ 9906000 w 9906000"/>
                <a:gd name="T17" fmla="*/ 0 h 6858000"/>
                <a:gd name="T18" fmla="*/ 9906000 w 9906000"/>
                <a:gd name="T19" fmla="*/ 622800 h 6858000"/>
                <a:gd name="T20" fmla="*/ 9906000 w 9906000"/>
                <a:gd name="T21" fmla="*/ 6156000 h 6858000"/>
                <a:gd name="T22" fmla="*/ 9906000 w 9906000"/>
                <a:gd name="T23" fmla="*/ 6858000 h 6858000"/>
                <a:gd name="T24" fmla="*/ 9276600 w 9906000"/>
                <a:gd name="T25" fmla="*/ 6858000 h 6858000"/>
                <a:gd name="T26" fmla="*/ 629400 w 9906000"/>
                <a:gd name="T27" fmla="*/ 6858000 h 6858000"/>
                <a:gd name="T28" fmla="*/ 0 w 9906000"/>
                <a:gd name="T29" fmla="*/ 6858000 h 6858000"/>
                <a:gd name="T30" fmla="*/ 0 w 9906000"/>
                <a:gd name="T31" fmla="*/ 6858000 h 6858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lnTo>
                    <a:pt x="6294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EFEF">
                <a:alpha val="3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" name="Footnote measure">
              <a:extLst>
                <a:ext uri="{FF2B5EF4-FFF2-40B4-BE49-F238E27FC236}">
                  <a16:creationId xmlns:a16="http://schemas.microsoft.com/office/drawing/2014/main" id="{5135F8B1-2B76-4F06-8EB9-9363EB3201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>
                <a:solidFill>
                  <a:srgbClr val="545454"/>
                </a:solidFill>
                <a:latin typeface="Trebuchet MS"/>
              </a:endParaRPr>
            </a:p>
          </p:txBody>
        </p:sp>
        <p:sp>
          <p:nvSpPr>
            <p:cNvPr id="8" name="Whitespace measure">
              <a:extLst>
                <a:ext uri="{FF2B5EF4-FFF2-40B4-BE49-F238E27FC236}">
                  <a16:creationId xmlns:a16="http://schemas.microsoft.com/office/drawing/2014/main" id="{66ED32FA-B31A-49A7-8E52-F6B4A83C85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545454"/>
                </a:solidFill>
                <a:latin typeface="Trebuchet MS"/>
              </a:endParaRPr>
            </a:p>
          </p:txBody>
        </p:sp>
        <p:grpSp>
          <p:nvGrpSpPr>
            <p:cNvPr id="9" name="Gutter space">
              <a:extLst>
                <a:ext uri="{FF2B5EF4-FFF2-40B4-BE49-F238E27FC236}">
                  <a16:creationId xmlns:a16="http://schemas.microsoft.com/office/drawing/2014/main" id="{A38970A3-BBF4-4711-9304-A12E4D9AB5C9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39" name="Gutter 11">
                <a:extLst>
                  <a:ext uri="{FF2B5EF4-FFF2-40B4-BE49-F238E27FC236}">
                    <a16:creationId xmlns:a16="http://schemas.microsoft.com/office/drawing/2014/main" id="{18DD1590-4050-441C-A050-159E7893D6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0" name="Gutter 10">
                <a:extLst>
                  <a:ext uri="{FF2B5EF4-FFF2-40B4-BE49-F238E27FC236}">
                    <a16:creationId xmlns:a16="http://schemas.microsoft.com/office/drawing/2014/main" id="{B83456E4-DA7B-47A4-88B5-AB2DA1638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1" name="Gutter 9">
                <a:extLst>
                  <a:ext uri="{FF2B5EF4-FFF2-40B4-BE49-F238E27FC236}">
                    <a16:creationId xmlns:a16="http://schemas.microsoft.com/office/drawing/2014/main" id="{16CC76C2-F129-48C7-ABC8-23133A1028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2" name="Gutter 8">
                <a:extLst>
                  <a:ext uri="{FF2B5EF4-FFF2-40B4-BE49-F238E27FC236}">
                    <a16:creationId xmlns:a16="http://schemas.microsoft.com/office/drawing/2014/main" id="{5DD02346-7A30-4E43-9413-18DA86A9CA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3" name="Gutter 7">
                <a:extLst>
                  <a:ext uri="{FF2B5EF4-FFF2-40B4-BE49-F238E27FC236}">
                    <a16:creationId xmlns:a16="http://schemas.microsoft.com/office/drawing/2014/main" id="{6BE5EA6B-9F44-41F6-B32B-B8D9871F37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4" name="Gutter 6">
                <a:extLst>
                  <a:ext uri="{FF2B5EF4-FFF2-40B4-BE49-F238E27FC236}">
                    <a16:creationId xmlns:a16="http://schemas.microsoft.com/office/drawing/2014/main" id="{E5083DEA-2BD9-4BE9-9785-C77C48A55B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5" name="Gutter 5">
                <a:extLst>
                  <a:ext uri="{FF2B5EF4-FFF2-40B4-BE49-F238E27FC236}">
                    <a16:creationId xmlns:a16="http://schemas.microsoft.com/office/drawing/2014/main" id="{DA4285D0-D5C9-401D-9547-C6EDBB9A50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6" name="Gutter 4">
                <a:extLst>
                  <a:ext uri="{FF2B5EF4-FFF2-40B4-BE49-F238E27FC236}">
                    <a16:creationId xmlns:a16="http://schemas.microsoft.com/office/drawing/2014/main" id="{B431612C-AEE3-44F7-8D62-852163AA4A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7" name="Gutter 3">
                <a:extLst>
                  <a:ext uri="{FF2B5EF4-FFF2-40B4-BE49-F238E27FC236}">
                    <a16:creationId xmlns:a16="http://schemas.microsoft.com/office/drawing/2014/main" id="{EE470572-8F21-4615-9AF6-FDD81C0A3D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8" name="Gutter 2">
                <a:extLst>
                  <a:ext uri="{FF2B5EF4-FFF2-40B4-BE49-F238E27FC236}">
                    <a16:creationId xmlns:a16="http://schemas.microsoft.com/office/drawing/2014/main" id="{131F631F-4B41-497E-8B41-33E9CDBA51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49" name="Gutter 1">
                <a:extLst>
                  <a:ext uri="{FF2B5EF4-FFF2-40B4-BE49-F238E27FC236}">
                    <a16:creationId xmlns:a16="http://schemas.microsoft.com/office/drawing/2014/main" id="{70D86348-74B8-4003-B02C-A654E2F7B3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grpSp>
          <p:nvGrpSpPr>
            <p:cNvPr id="10" name="Baselines/Anchors">
              <a:extLst>
                <a:ext uri="{FF2B5EF4-FFF2-40B4-BE49-F238E27FC236}">
                  <a16:creationId xmlns:a16="http://schemas.microsoft.com/office/drawing/2014/main" id="{1211BE88-5C70-4CD5-842C-30EED5377B9F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19" name="Line 20">
                <a:extLst>
                  <a:ext uri="{FF2B5EF4-FFF2-40B4-BE49-F238E27FC236}">
                    <a16:creationId xmlns:a16="http://schemas.microsoft.com/office/drawing/2014/main" id="{7595FACC-CC7A-41AE-A9A3-F804683319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0" name="Line 19">
                <a:extLst>
                  <a:ext uri="{FF2B5EF4-FFF2-40B4-BE49-F238E27FC236}">
                    <a16:creationId xmlns:a16="http://schemas.microsoft.com/office/drawing/2014/main" id="{E104CF91-5185-4920-9C48-F503E5DCCAB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1" name="Line 18">
                <a:extLst>
                  <a:ext uri="{FF2B5EF4-FFF2-40B4-BE49-F238E27FC236}">
                    <a16:creationId xmlns:a16="http://schemas.microsoft.com/office/drawing/2014/main" id="{3047F062-98C1-423A-935C-EC866914D49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Line 17">
                <a:extLst>
                  <a:ext uri="{FF2B5EF4-FFF2-40B4-BE49-F238E27FC236}">
                    <a16:creationId xmlns:a16="http://schemas.microsoft.com/office/drawing/2014/main" id="{8FCDD5AB-6C76-4E6F-8FD3-F23991914E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3" name="Line 16">
                <a:extLst>
                  <a:ext uri="{FF2B5EF4-FFF2-40B4-BE49-F238E27FC236}">
                    <a16:creationId xmlns:a16="http://schemas.microsoft.com/office/drawing/2014/main" id="{165E84F3-EDD3-4335-97AA-484766EA4B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Line 15">
                <a:extLst>
                  <a:ext uri="{FF2B5EF4-FFF2-40B4-BE49-F238E27FC236}">
                    <a16:creationId xmlns:a16="http://schemas.microsoft.com/office/drawing/2014/main" id="{0ED0DEB7-4BB8-42CD-89A0-504D3DC6F5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5" name="Line 14">
                <a:extLst>
                  <a:ext uri="{FF2B5EF4-FFF2-40B4-BE49-F238E27FC236}">
                    <a16:creationId xmlns:a16="http://schemas.microsoft.com/office/drawing/2014/main" id="{2E433968-05E4-493B-9ABF-C6736C8007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6" name="Line 13">
                <a:extLst>
                  <a:ext uri="{FF2B5EF4-FFF2-40B4-BE49-F238E27FC236}">
                    <a16:creationId xmlns:a16="http://schemas.microsoft.com/office/drawing/2014/main" id="{437CC49E-2EB0-426A-8588-583E232723F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7" name="Line 12">
                <a:extLst>
                  <a:ext uri="{FF2B5EF4-FFF2-40B4-BE49-F238E27FC236}">
                    <a16:creationId xmlns:a16="http://schemas.microsoft.com/office/drawing/2014/main" id="{FB724C8D-829B-49A4-BBAD-30EF9C70B6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8" name="Line 11">
                <a:extLst>
                  <a:ext uri="{FF2B5EF4-FFF2-40B4-BE49-F238E27FC236}">
                    <a16:creationId xmlns:a16="http://schemas.microsoft.com/office/drawing/2014/main" id="{253C7C2F-95CF-45F0-88E3-F4B66321D7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9" name="Line 10">
                <a:extLst>
                  <a:ext uri="{FF2B5EF4-FFF2-40B4-BE49-F238E27FC236}">
                    <a16:creationId xmlns:a16="http://schemas.microsoft.com/office/drawing/2014/main" id="{A10D1B44-CE67-4D1B-881A-50182FEA6A7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0" name="Line 9">
                <a:extLst>
                  <a:ext uri="{FF2B5EF4-FFF2-40B4-BE49-F238E27FC236}">
                    <a16:creationId xmlns:a16="http://schemas.microsoft.com/office/drawing/2014/main" id="{682F0768-CB08-41D0-A88C-C87276608D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Line 8">
                <a:extLst>
                  <a:ext uri="{FF2B5EF4-FFF2-40B4-BE49-F238E27FC236}">
                    <a16:creationId xmlns:a16="http://schemas.microsoft.com/office/drawing/2014/main" id="{5994C477-7466-4810-8C43-8FA135AEF1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2" name="Line 7">
                <a:extLst>
                  <a:ext uri="{FF2B5EF4-FFF2-40B4-BE49-F238E27FC236}">
                    <a16:creationId xmlns:a16="http://schemas.microsoft.com/office/drawing/2014/main" id="{8F3FDE06-BF65-42B4-8F5A-8E0D77BB78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" name="Line 6">
                <a:extLst>
                  <a:ext uri="{FF2B5EF4-FFF2-40B4-BE49-F238E27FC236}">
                    <a16:creationId xmlns:a16="http://schemas.microsoft.com/office/drawing/2014/main" id="{13ABA0CE-70F7-4078-AE0C-9E9B99FA2B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4" name="Line 5">
                <a:extLst>
                  <a:ext uri="{FF2B5EF4-FFF2-40B4-BE49-F238E27FC236}">
                    <a16:creationId xmlns:a16="http://schemas.microsoft.com/office/drawing/2014/main" id="{3E96CCF3-D2E0-456F-82FB-16959B022C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5" name="Line 4">
                <a:extLst>
                  <a:ext uri="{FF2B5EF4-FFF2-40B4-BE49-F238E27FC236}">
                    <a16:creationId xmlns:a16="http://schemas.microsoft.com/office/drawing/2014/main" id="{D48AEF4E-A4EF-41E7-AED5-EA7C6D026F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6" name="Line 3">
                <a:extLst>
                  <a:ext uri="{FF2B5EF4-FFF2-40B4-BE49-F238E27FC236}">
                    <a16:creationId xmlns:a16="http://schemas.microsoft.com/office/drawing/2014/main" id="{EC60478C-E8D2-4903-BE01-47BB55D00FD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7" name="Line 2">
                <a:extLst>
                  <a:ext uri="{FF2B5EF4-FFF2-40B4-BE49-F238E27FC236}">
                    <a16:creationId xmlns:a16="http://schemas.microsoft.com/office/drawing/2014/main" id="{7E9667AF-135E-4B86-955A-33D7F6FC2F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8" name="Line 1">
                <a:extLst>
                  <a:ext uri="{FF2B5EF4-FFF2-40B4-BE49-F238E27FC236}">
                    <a16:creationId xmlns:a16="http://schemas.microsoft.com/office/drawing/2014/main" id="{62DEB7EF-1CDF-42A6-BCDC-4A3D16537C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>
                <a:solidFill>
                  <a:srgbClr val="30C1D7">
                    <a:alpha val="39999"/>
                  </a:srgbClr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390E88C8-5B6E-4E01-9051-4BF9BE7BDF77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4" name="Column 5">
                <a:extLst>
                  <a:ext uri="{FF2B5EF4-FFF2-40B4-BE49-F238E27FC236}">
                    <a16:creationId xmlns:a16="http://schemas.microsoft.com/office/drawing/2014/main" id="{23FBD049-259E-4670-949F-B1EC230AE7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5" name="Column 4">
                <a:extLst>
                  <a:ext uri="{FF2B5EF4-FFF2-40B4-BE49-F238E27FC236}">
                    <a16:creationId xmlns:a16="http://schemas.microsoft.com/office/drawing/2014/main" id="{3C98515A-E507-4E63-AEC5-DBA05AD0F5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6" name="Column 3">
                <a:extLst>
                  <a:ext uri="{FF2B5EF4-FFF2-40B4-BE49-F238E27FC236}">
                    <a16:creationId xmlns:a16="http://schemas.microsoft.com/office/drawing/2014/main" id="{09060965-8BB4-4EF7-B04D-BB18184D98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7" name="Column 2">
                <a:extLst>
                  <a:ext uri="{FF2B5EF4-FFF2-40B4-BE49-F238E27FC236}">
                    <a16:creationId xmlns:a16="http://schemas.microsoft.com/office/drawing/2014/main" id="{26FDD3F1-30AC-46AB-9797-A60C4A09E8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  <p:sp>
            <p:nvSpPr>
              <p:cNvPr id="18" name="Column 1">
                <a:extLst>
                  <a:ext uri="{FF2B5EF4-FFF2-40B4-BE49-F238E27FC236}">
                    <a16:creationId xmlns:a16="http://schemas.microsoft.com/office/drawing/2014/main" id="{84A56EF8-24B9-422F-B06E-44D681D00C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>
                  <a:solidFill>
                    <a:srgbClr val="545454"/>
                  </a:solidFill>
                  <a:latin typeface="Trebuchet MS"/>
                </a:endParaRPr>
              </a:p>
            </p:txBody>
          </p:sp>
        </p:grpSp>
        <p:sp>
          <p:nvSpPr>
            <p:cNvPr id="12" name="Live space">
              <a:extLst>
                <a:ext uri="{FF2B5EF4-FFF2-40B4-BE49-F238E27FC236}">
                  <a16:creationId xmlns:a16="http://schemas.microsoft.com/office/drawing/2014/main" id="{79D55192-F5E7-4EEF-B8B6-D393005DD2B2}"/>
                </a:ext>
              </a:extLst>
            </p:cNvPr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rgbClr val="545454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:a16="http://schemas.microsoft.com/office/drawing/2014/main" id="{68C6B447-250D-4CDE-A8B7-B1F9EB980FC8}"/>
                </a:ext>
              </a:extLst>
            </p:cNvPr>
            <p:cNvSpPr txBox="1">
              <a:spLocks noChangeAspect="1"/>
            </p:cNvSpPr>
            <p:nvPr userDrawn="1"/>
          </p:nvSpPr>
          <p:spPr bwMode="auto">
            <a:xfrm>
              <a:off x="629444" y="6099175"/>
              <a:ext cx="7283748" cy="46196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eaLnBrk="1" hangingPunct="1">
                <a:defRPr/>
              </a:pPr>
              <a:r>
                <a:rPr lang="en-IN" altLang="en-US" sz="1000">
                  <a:solidFill>
                    <a:srgbClr val="7F7F7F"/>
                  </a:solidFill>
                  <a:latin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lang="en-US" altLang="en-US" sz="10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0" name="FooterSimple" hidden="1">
            <a:extLst>
              <a:ext uri="{FF2B5EF4-FFF2-40B4-BE49-F238E27FC236}">
                <a16:creationId xmlns:a16="http://schemas.microsoft.com/office/drawing/2014/main" id="{E05E230A-190C-4A51-936F-3EAE70C859E9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1" name="Date Placeholder 1">
            <a:extLst>
              <a:ext uri="{FF2B5EF4-FFF2-40B4-BE49-F238E27FC236}">
                <a16:creationId xmlns:a16="http://schemas.microsoft.com/office/drawing/2014/main" id="{708FE4B0-64C3-4CE5-BA1C-A16E65FFBD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4ED018A-B8CB-4DDE-BB8F-4DD83FB5379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95568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139E4134-9E22-49F3-ADD0-D02664D11D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5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64514" name="Object 2" hidden="1">
                        <a:extLst>
                          <a:ext uri="{FF2B5EF4-FFF2-40B4-BE49-F238E27FC236}">
                            <a16:creationId xmlns:a16="http://schemas.microsoft.com/office/drawing/2014/main" id="{B9593710-13F1-4A4D-9E2F-F29670CA2B6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805F3B3F-57AE-40BB-85C9-E9F6E190D0B7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221DD0E-B948-43EE-A9F2-4355C5C34F93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68A5AFDF-A890-42F2-8C32-33B4E10F16DE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F67A0460-6C29-468F-999B-22B9587BB99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360E097C-E616-4AD7-A14A-D11835B1C530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73899391-ED6D-4B3E-9F79-831CA65DE553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 dirty="0">
                <a:solidFill>
                  <a:srgbClr val="FFFFFF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36531981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85CDD192-5677-4375-998D-392BA37395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9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65538" name="Object 2" hidden="1">
                        <a:extLst>
                          <a:ext uri="{FF2B5EF4-FFF2-40B4-BE49-F238E27FC236}">
                            <a16:creationId xmlns:a16="http://schemas.microsoft.com/office/drawing/2014/main" id="{CACAD203-5D76-46A1-B327-431B0ECDBE3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1C68A47E-7E3E-4946-8E5B-CE6B372BB014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0E97800-D473-453E-8557-0CA265DC35DA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C6703353-023E-4DE2-A745-322E0A2AAC63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782FC036-A722-4348-A327-53C33F7EC2A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eaLnBrk="1" fontAlgn="auto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07C097EE-6107-437A-93F3-1BF9A2DA55EC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2000">
              <a:solidFill>
                <a:srgbClr val="FFFFFF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06519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:a16="http://schemas.microsoft.com/office/drawing/2014/main" id="{FB1E866F-777D-4CE1-89B7-88E41DC972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5CCCBE-AA52-4E20-80D1-01970D5A1CE9}" type="datetime1">
              <a:rPr lang="en-US" smtClean="0"/>
              <a:t>5/25/2021</a:t>
            </a:fld>
            <a:endParaRPr lang="en-US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:a16="http://schemas.microsoft.com/office/drawing/2014/main" id="{F226E6F2-22CA-4E79-819F-807EFD940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DC938E31-85F6-498D-A099-ECBAB7B90B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324D3C-8678-4612-8AD9-843ADD87DB0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356940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A025FB8D-31DE-49D8-839E-BEE8BDC8F1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3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66562" name="Object 2" hidden="1">
                        <a:extLst>
                          <a:ext uri="{FF2B5EF4-FFF2-40B4-BE49-F238E27FC236}">
                            <a16:creationId xmlns:a16="http://schemas.microsoft.com/office/drawing/2014/main" id="{77FE46AA-3C11-4C25-B9F9-B5B99F17202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E865A5FB-BD12-48C1-9AF1-9C8F0DDE8D17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E9F1487-41D9-4367-A977-1F4617EF5E83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AC568245-2BD1-464D-9318-0071E351BF8B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cxnSp>
        <p:nvCxnSpPr>
          <p:cNvPr id="5" name="Straight Connector 9">
            <a:extLst>
              <a:ext uri="{FF2B5EF4-FFF2-40B4-BE49-F238E27FC236}">
                <a16:creationId xmlns:a16="http://schemas.microsoft.com/office/drawing/2014/main" id="{E3182042-538D-458B-B339-D159CF57F0AF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10">
            <a:extLst>
              <a:ext uri="{FF2B5EF4-FFF2-40B4-BE49-F238E27FC236}">
                <a16:creationId xmlns:a16="http://schemas.microsoft.com/office/drawing/2014/main" id="{4A4ABD15-E3E4-4013-950B-A453908E1AD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800">
                <a:solidFill>
                  <a:prstClr val="white">
                    <a:lumMod val="100000"/>
                  </a:prst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29137930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9D08367-2580-40B6-951C-C901135BBD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67586" name="Object 1" hidden="1">
                        <a:extLst>
                          <a:ext uri="{FF2B5EF4-FFF2-40B4-BE49-F238E27FC236}">
                            <a16:creationId xmlns:a16="http://schemas.microsoft.com/office/drawing/2014/main" id="{75ACB261-6286-4785-9445-079251DE3AB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:a16="http://schemas.microsoft.com/office/drawing/2014/main" id="{ED77AE6F-C5F4-4B4A-8575-55514C3FDAE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B5A4C88F-0385-4A1C-8AB1-E84765028739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9DB99354-018B-4FFD-8FDD-67698D1E032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BF4E0DC-0B35-4808-85CA-30C2D4A1179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4299A2C0-2A1B-4EAE-91A3-0DD15269FE6F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extBox 14">
            <a:extLst>
              <a:ext uri="{FF2B5EF4-FFF2-40B4-BE49-F238E27FC236}">
                <a16:creationId xmlns:a16="http://schemas.microsoft.com/office/drawing/2014/main" id="{F6E6551B-855F-434B-9B82-E23D614BC79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4700" y="2681288"/>
            <a:ext cx="3044825" cy="149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2800">
                <a:solidFill>
                  <a:srgbClr val="FFFFFF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0066364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4FAC0E-ABB1-49AF-A945-41DDDE228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92" name="Слайд think-cell" r:id="rId9" imgW="360" imgH="360" progId="TCLayout.ActiveDocument.1">
                  <p:embed/>
                </p:oleObj>
              </mc:Choice>
              <mc:Fallback>
                <p:oleObj name="Слайд think-cell" r:id="rId9" imgW="360" imgH="360" progId="TCLayout.ActiveDocument.1">
                  <p:embed/>
                  <p:pic>
                    <p:nvPicPr>
                      <p:cNvPr id="68610" name="Object 1" hidden="1">
                        <a:extLst>
                          <a:ext uri="{FF2B5EF4-FFF2-40B4-BE49-F238E27FC236}">
                            <a16:creationId xmlns:a16="http://schemas.microsoft.com/office/drawing/2014/main" id="{C9499396-0B3F-47E5-B211-0322025D23E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5934C95C-0073-4B42-846F-F3707E9840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E5E94AC-19D3-4BBE-8AD6-AA51465233F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62027CF-AE72-489D-B04B-242432EBF8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9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68612" name="Object 3" hidden="1">
                        <a:extLst>
                          <a:ext uri="{FF2B5EF4-FFF2-40B4-BE49-F238E27FC236}">
                            <a16:creationId xmlns:a16="http://schemas.microsoft.com/office/drawing/2014/main" id="{7194CBEF-85CE-4FFE-BBE4-5B525500398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43B559C4-EE0A-4A1E-B9F6-1FC1650F8504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317E2E62-73CB-4E02-A173-53FDA2927620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B6C48EB8-683B-4C89-B630-45466861D98C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C360185B-3C35-45CD-A609-5A1BA2B4472F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eaLnBrk="1" fontAlgn="auto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29572493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6946173-D214-46D7-800B-C2F57F3D32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16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69634" name="Object 1" hidden="1">
                        <a:extLst>
                          <a:ext uri="{FF2B5EF4-FFF2-40B4-BE49-F238E27FC236}">
                            <a16:creationId xmlns:a16="http://schemas.microsoft.com/office/drawing/2014/main" id="{E9A21DB2-C3EC-4273-9706-494F034F4C2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B0707299-576C-45CF-9D98-97BB5C32E42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8560FA8-3E80-4CF6-BC0D-87BC06678A5C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D258A6-1D51-4003-BBAA-6020C3B8C2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1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69636" name="Object 3" hidden="1">
                        <a:extLst>
                          <a:ext uri="{FF2B5EF4-FFF2-40B4-BE49-F238E27FC236}">
                            <a16:creationId xmlns:a16="http://schemas.microsoft.com/office/drawing/2014/main" id="{E77904AA-D6E4-419B-806D-2DDE71D4C3B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489B9F2A-8A2A-4404-BCD2-90DF05B38B67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72338DF2-93B2-42C7-9EF2-3B4BDAE1E6A6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eaLnBrk="1" fontAlgn="auto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4E98C6">
                  <a:lumMod val="100000"/>
                </a:srgbClr>
              </a:solidFill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ED3A82D7-190A-4144-864E-858D9F939EAF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eaLnBrk="1" fontAlgn="auto" hangingPunct="1">
              <a:defRPr/>
            </a:pPr>
            <a:endParaRPr lang="en-US" sz="1200">
              <a:solidFill>
                <a:srgbClr val="545454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24354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2B5E0C8-C88D-42FA-B68D-ED95991622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40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70658" name="Object 1" hidden="1">
                        <a:extLst>
                          <a:ext uri="{FF2B5EF4-FFF2-40B4-BE49-F238E27FC236}">
                            <a16:creationId xmlns:a16="http://schemas.microsoft.com/office/drawing/2014/main" id="{45B56707-0C6C-4D70-B509-50D4B4021D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>
            <a:extLst>
              <a:ext uri="{FF2B5EF4-FFF2-40B4-BE49-F238E27FC236}">
                <a16:creationId xmlns:a16="http://schemas.microsoft.com/office/drawing/2014/main" id="{537C6270-370D-4A79-8FF5-BD6C04606E7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E71E67D-C8F8-48C0-9A4A-115787E77BF1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5978417-88BB-4209-9A20-F8398ACF25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4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70660" name="Object 3" hidden="1">
                        <a:extLst>
                          <a:ext uri="{FF2B5EF4-FFF2-40B4-BE49-F238E27FC236}">
                            <a16:creationId xmlns:a16="http://schemas.microsoft.com/office/drawing/2014/main" id="{85B1AB28-8692-487A-BFBC-F3F5DA1A972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EAE8A448-C866-475C-81FE-BEBAF758621D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cxnSp>
        <p:nvCxnSpPr>
          <p:cNvPr id="6" name="Straight Connector 7">
            <a:extLst>
              <a:ext uri="{FF2B5EF4-FFF2-40B4-BE49-F238E27FC236}">
                <a16:creationId xmlns:a16="http://schemas.microsoft.com/office/drawing/2014/main" id="{CEFF2E4A-8EFC-4A7C-9E4E-6AB0BDF878DC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8">
            <a:extLst>
              <a:ext uri="{FF2B5EF4-FFF2-40B4-BE49-F238E27FC236}">
                <a16:creationId xmlns:a16="http://schemas.microsoft.com/office/drawing/2014/main" id="{799A4999-65F0-4F80-9EFC-E78E25C2017D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400">
                <a:solidFill>
                  <a:srgbClr val="4E98C6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17694727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BA33F89-8D40-49D5-B3BD-7DB2BF77E7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71682" name="Object 1" hidden="1">
                        <a:extLst>
                          <a:ext uri="{FF2B5EF4-FFF2-40B4-BE49-F238E27FC236}">
                            <a16:creationId xmlns:a16="http://schemas.microsoft.com/office/drawing/2014/main" id="{2D059A4D-C8B8-40B3-BF47-389A91014BB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:a16="http://schemas.microsoft.com/office/drawing/2014/main" id="{6B30127E-79F8-49E7-A4B4-F1C664342B7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White">
            <a:extLst>
              <a:ext uri="{FF2B5EF4-FFF2-40B4-BE49-F238E27FC236}">
                <a16:creationId xmlns:a16="http://schemas.microsoft.com/office/drawing/2014/main" id="{CCD3A865-B166-4D1E-83AB-E865AE2DA265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3D6009CE-ED94-440F-A3DD-94D8F6EBF30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4B90296-06E7-4C51-AF2A-96C9A6B35C1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62AD2C49-1BAD-4DC6-B0FF-C3DBA6E34B50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extBox 14">
            <a:extLst>
              <a:ext uri="{FF2B5EF4-FFF2-40B4-BE49-F238E27FC236}">
                <a16:creationId xmlns:a16="http://schemas.microsoft.com/office/drawing/2014/main" id="{8DD266F0-209E-40B3-973F-43EF403E089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4700" y="2681288"/>
            <a:ext cx="3044825" cy="14986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altLang="en-US" sz="2400">
                <a:solidFill>
                  <a:srgbClr val="FFFFFF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52118936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98A2D87-0677-44E3-A981-B0C0E985FB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72706" name="Object 1" hidden="1">
                        <a:extLst>
                          <a:ext uri="{FF2B5EF4-FFF2-40B4-BE49-F238E27FC236}">
                            <a16:creationId xmlns:a16="http://schemas.microsoft.com/office/drawing/2014/main" id="{49F7A6FA-973D-49C0-A5CB-323673F1001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>
            <a:extLst>
              <a:ext uri="{FF2B5EF4-FFF2-40B4-BE49-F238E27FC236}">
                <a16:creationId xmlns:a16="http://schemas.microsoft.com/office/drawing/2014/main" id="{2A656D73-27E1-46D8-AE67-29C5AB822F7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White">
            <a:extLst>
              <a:ext uri="{FF2B5EF4-FFF2-40B4-BE49-F238E27FC236}">
                <a16:creationId xmlns:a16="http://schemas.microsoft.com/office/drawing/2014/main" id="{8284F15E-2AA8-4FD9-862F-139A5DA6D14B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A208CD5F-FE7B-4C9E-BFD6-9DB7ECDEC3C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50DE6A3-DA77-4D58-BFEA-15A6A10A345D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TextBox 13">
            <a:extLst>
              <a:ext uri="{FF2B5EF4-FFF2-40B4-BE49-F238E27FC236}">
                <a16:creationId xmlns:a16="http://schemas.microsoft.com/office/drawing/2014/main" id="{C92B05D7-12E0-45B2-8651-65278065624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2000" y="2711450"/>
            <a:ext cx="2738438" cy="14351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ts val="700"/>
              </a:spcAft>
              <a:defRPr/>
            </a:pPr>
            <a:r>
              <a:rPr lang="en-US" altLang="en-US" sz="4400">
                <a:solidFill>
                  <a:srgbClr val="295E7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08CFF329-88F6-472A-A05E-8DF0202DB674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kk-KZ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8 Глобальные вызовы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</p:spTree>
    <p:extLst>
      <p:ext uri="{BB962C8B-B14F-4D97-AF65-F5344CB8AC3E}">
        <p14:creationId xmlns:p14="http://schemas.microsoft.com/office/powerpoint/2010/main" val="46760489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>
            <a:extLst>
              <a:ext uri="{FF2B5EF4-FFF2-40B4-BE49-F238E27FC236}">
                <a16:creationId xmlns:a16="http://schemas.microsoft.com/office/drawing/2014/main" id="{9113F9DD-62D0-4C56-9366-BE62C005F8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8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73730" name="Object 1" hidden="1">
                        <a:extLst>
                          <a:ext uri="{FF2B5EF4-FFF2-40B4-BE49-F238E27FC236}">
                            <a16:creationId xmlns:a16="http://schemas.microsoft.com/office/drawing/2014/main" id="{1D0B279C-D8BD-47A5-BAB8-8A7CF2B79DC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age">
            <a:extLst>
              <a:ext uri="{FF2B5EF4-FFF2-40B4-BE49-F238E27FC236}">
                <a16:creationId xmlns:a16="http://schemas.microsoft.com/office/drawing/2014/main" id="{FF3D7E4F-CC33-4731-946D-BAFBB4FEDA9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BFC2029A-7567-4111-AB34-B01DE4A1895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55913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347752FE-CFA6-4091-804E-1519471597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0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74754" name="Object 1" hidden="1">
                        <a:extLst>
                          <a:ext uri="{FF2B5EF4-FFF2-40B4-BE49-F238E27FC236}">
                            <a16:creationId xmlns:a16="http://schemas.microsoft.com/office/drawing/2014/main" id="{6401F88A-6BDE-4516-80BE-CFDD5E741CD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age">
            <a:extLst>
              <a:ext uri="{FF2B5EF4-FFF2-40B4-BE49-F238E27FC236}">
                <a16:creationId xmlns:a16="http://schemas.microsoft.com/office/drawing/2014/main" id="{852C9165-187B-4012-908F-35907CEE099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7542E91-6EA9-4509-B3A4-9D4F505FA6B8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693154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nelWhite">
            <a:extLst>
              <a:ext uri="{FF2B5EF4-FFF2-40B4-BE49-F238E27FC236}">
                <a16:creationId xmlns:a16="http://schemas.microsoft.com/office/drawing/2014/main" id="{BF086593-8AC8-4C9D-9691-6009241645A9}"/>
              </a:ext>
            </a:extLst>
          </p:cNvPr>
          <p:cNvSpPr/>
          <p:nvPr userDrawn="1"/>
        </p:nvSpPr>
        <p:spPr>
          <a:xfrm>
            <a:off x="0" y="5278438"/>
            <a:ext cx="12192000" cy="157956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Shadow">
            <a:extLst>
              <a:ext uri="{FF2B5EF4-FFF2-40B4-BE49-F238E27FC236}">
                <a16:creationId xmlns:a16="http://schemas.microsoft.com/office/drawing/2014/main" id="{0F4AD8F3-919B-4C00-A4F8-0643CE46E6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" t="102" r="8742" b="1730"/>
          <a:stretch>
            <a:fillRect/>
          </a:stretch>
        </p:blipFill>
        <p:spPr bwMode="auto">
          <a:xfrm>
            <a:off x="3751263" y="5094288"/>
            <a:ext cx="8440737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:a16="http://schemas.microsoft.com/office/drawing/2014/main" id="{CBFB481A-AD15-4B60-9E91-78195D6A457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404" r="38" b="24950"/>
          <a:stretch>
            <a:fillRect/>
          </a:stretch>
        </p:blipFill>
        <p:spPr bwMode="auto">
          <a:xfrm>
            <a:off x="-17463" y="0"/>
            <a:ext cx="12218988" cy="52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11">
            <a:extLst>
              <a:ext uri="{FF2B5EF4-FFF2-40B4-BE49-F238E27FC236}">
                <a16:creationId xmlns:a16="http://schemas.microsoft.com/office/drawing/2014/main" id="{B4356D3D-52DE-4C3E-8D62-7B419CA52D3D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771525" y="1509713"/>
            <a:ext cx="7913688" cy="4646612"/>
          </a:xfrm>
          <a:prstGeom prst="rect">
            <a:avLst/>
          </a:prstGeom>
          <a:gradFill rotWithShape="0">
            <a:gsLst>
              <a:gs pos="0">
                <a:srgbClr val="071117"/>
              </a:gs>
              <a:gs pos="100000">
                <a:srgbClr val="295E7E">
                  <a:alpha val="89999"/>
                </a:srgbClr>
              </a:gs>
            </a:gsLst>
            <a:lin ang="8400000"/>
          </a:gradFill>
          <a:ln>
            <a:noFill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1000"/>
              </a:spcAft>
              <a:defRPr/>
            </a:pPr>
            <a:endParaRPr lang="en-US" alt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pic>
        <p:nvPicPr>
          <p:cNvPr id="10" name="Picture 2" descr="Image result for министерство труда казахстана logo">
            <a:extLst>
              <a:ext uri="{FF2B5EF4-FFF2-40B4-BE49-F238E27FC236}">
                <a16:creationId xmlns:a16="http://schemas.microsoft.com/office/drawing/2014/main" id="{6B3545D5-D234-4574-AE18-1E6AF76526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100" y="1701800"/>
            <a:ext cx="9017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4">
            <a:extLst>
              <a:ext uri="{FF2B5EF4-FFF2-40B4-BE49-F238E27FC236}">
                <a16:creationId xmlns:a16="http://schemas.microsoft.com/office/drawing/2014/main" id="{9072CB16-B510-4FFF-A3F9-B133462B835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Министерство труда и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социальной защиты населения</a:t>
            </a:r>
          </a:p>
          <a:p>
            <a:pPr eaLnBrk="1" hangingPunct="1">
              <a:defRPr/>
            </a:pPr>
            <a:r>
              <a:rPr lang="ru-RU" altLang="en-US" sz="1400" b="1">
                <a:solidFill>
                  <a:srgbClr val="FFFFFF"/>
                </a:solidFill>
                <a:latin typeface="Trebuchet MS" panose="020B0603020202020204" pitchFamily="34" charset="0"/>
              </a:rPr>
              <a:t>Республики Казахстан</a:t>
            </a:r>
            <a:endParaRPr lang="en-US" altLang="en-US" sz="1400" b="1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3" name="Logo Placeholder"/>
          <p:cNvSpPr>
            <a:spLocks noGrp="1"/>
          </p:cNvSpPr>
          <p:nvPr>
            <p:ph type="pic" sz="quarter" idx="13"/>
          </p:nvPr>
        </p:nvSpPr>
        <p:spPr>
          <a:xfrm>
            <a:off x="9284756" y="5570644"/>
            <a:ext cx="181801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1089969" y="6207842"/>
            <a:ext cx="6685782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0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 bwMode="white">
          <a:xfrm>
            <a:off x="1089969" y="5495708"/>
            <a:ext cx="6685782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4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 bwMode="ltGray">
          <a:xfrm>
            <a:off x="1089969" y="2714172"/>
            <a:ext cx="6685782" cy="231049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4000" b="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35605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F9B18848-8608-4BB6-A543-5241D71AA3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AC53F5-C1CB-4F8D-A163-8187412257F6}" type="datetime1">
              <a:rPr lang="en-US" smtClean="0"/>
              <a:t>5/25/2021</a:t>
            </a:fld>
            <a:endParaRPr lang="en-US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AD6B041F-F1AD-40E9-B732-1655CA153C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9330B02D-6605-4A9F-B8B2-0AC46C5CB6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3B90F3-C764-4BDD-9EB5-7931278C8A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5407317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641650D0-FB4D-4480-BF48-1CBCCD81FD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76802" name="Object 1" hidden="1">
                        <a:extLst>
                          <a:ext uri="{FF2B5EF4-FFF2-40B4-BE49-F238E27FC236}">
                            <a16:creationId xmlns:a16="http://schemas.microsoft.com/office/drawing/2014/main" id="{71688461-244E-4D27-85E5-5DFBA0C7AB7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D1F5B007-66F6-4CD6-87C9-252D634ECA4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52AE032-62E7-42D2-89BC-9EB386CCA90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BF19FC27-0F01-4F57-B361-D17D5DCE0692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4" y="622800"/>
            <a:ext cx="10642708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E51A25E2-9624-4A12-A477-ADEF206B84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5EC24FF-B205-4FE6-A40C-1C0A5300BCB8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818437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B71969F6-B1CB-491F-AF09-5AED43D75B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7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77826" name="Object 1" hidden="1">
                        <a:extLst>
                          <a:ext uri="{FF2B5EF4-FFF2-40B4-BE49-F238E27FC236}">
                            <a16:creationId xmlns:a16="http://schemas.microsoft.com/office/drawing/2014/main" id="{6BAF541D-F593-49A7-B8FE-3DA0FCF48C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0E00B536-CA3D-4C9E-9C2F-D4433E5FCD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C248414D-FDDC-4938-B61A-D631B5343D6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PanelGray">
            <a:extLst>
              <a:ext uri="{FF2B5EF4-FFF2-40B4-BE49-F238E27FC236}">
                <a16:creationId xmlns:a16="http://schemas.microsoft.com/office/drawing/2014/main" id="{ADE518FB-25A4-4F54-815C-A56CDFD30F28}"/>
              </a:ext>
            </a:extLst>
          </p:cNvPr>
          <p:cNvSpPr/>
          <p:nvPr userDrawn="1"/>
        </p:nvSpPr>
        <p:spPr bwMode="ltGray">
          <a:xfrm>
            <a:off x="0" y="0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31C39D1C-A64E-4230-9FCB-9C581988730C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 bwMode="ltGray">
          <a:xfrm>
            <a:off x="775384" y="1544274"/>
            <a:ext cx="3359506" cy="1495794"/>
          </a:xfrm>
          <a:noFill/>
        </p:spPr>
        <p:txBody>
          <a:bodyPr rIns="320040" anchor="b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CB4F458F-C12C-48AD-AC3D-50844FE1FD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4F332F14-3763-4AA1-B33F-88C1E0B7249B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384559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00F5D094-EA4D-451C-8FC6-AC0B612FF19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73C89FE-1943-4034-B091-94DE3753EA47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Square">
            <a:extLst>
              <a:ext uri="{FF2B5EF4-FFF2-40B4-BE49-F238E27FC236}">
                <a16:creationId xmlns:a16="http://schemas.microsoft.com/office/drawing/2014/main" id="{B0E44228-1EAF-4CF6-B015-D29F5F34495E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1090613" y="1457325"/>
            <a:ext cx="1128712" cy="9191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98831FA3-F20B-462D-83CA-30BFCD4A66DF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28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1886FFE7-1619-46EE-85D7-11D6C18DF1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ECB9D3BB-0813-4172-AEFD-1C71F061019E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274495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904D7597-95C0-4086-89A0-7DC700EE617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FD82B347-A6EF-456F-BCED-E411EA9D074C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4" name="Line">
            <a:extLst>
              <a:ext uri="{FF2B5EF4-FFF2-40B4-BE49-F238E27FC236}">
                <a16:creationId xmlns:a16="http://schemas.microsoft.com/office/drawing/2014/main" id="{17452E9C-CB89-4B67-B297-EB705F64561A}"/>
              </a:ext>
            </a:extLst>
          </p:cNvPr>
          <p:cNvCxnSpPr/>
          <p:nvPr userDrawn="1"/>
        </p:nvCxnSpPr>
        <p:spPr bwMode="white">
          <a:xfrm>
            <a:off x="774700" y="3679825"/>
            <a:ext cx="11417300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173E808F-AFF0-4621-84DB-9B79591A6A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D528DFF-D8EE-4C71-B809-652728736728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575580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DDBEC969-50A9-4214-B565-D1AEA0BA03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6F0D73B6-812C-49AE-8A19-F00DED8107B2}"/>
              </a:ext>
            </a:extLst>
          </p:cNvPr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4F009B99-4084-4C54-9268-BE4D08E5159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2D9BF00-1509-416E-A968-FBB59A537375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1FC178D9-BA91-4C60-A321-9F47F02FBB5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7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5077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792228F5-3AB4-4D27-B6C4-BF51E9BC66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AE62B143-1D92-462A-8714-06B8502406E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727775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37BF3EA2-CD96-49D0-86B4-2ACA2BE0D27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39C99824-6EB5-4E92-A471-E62F46B16AAC}"/>
              </a:ext>
            </a:extLst>
          </p:cNvPr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7CED5027-9800-4BC0-88AB-23AD61ECD72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7231DC1D-736C-4909-8333-A148F4ABCEB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29084344-B618-4936-9796-916619AFD5EE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92D832D4-3C91-443E-BD31-F0549DB92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3A73264-DE1F-42D1-8A48-E02A3F16053F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942967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C052BE2A-BD62-4AA9-9268-35CD5B5C5B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anelGray">
            <a:extLst>
              <a:ext uri="{FF2B5EF4-FFF2-40B4-BE49-F238E27FC236}">
                <a16:creationId xmlns:a16="http://schemas.microsoft.com/office/drawing/2014/main" id="{CEDBC5F6-402B-499A-B946-DD9FE3156A77}"/>
              </a:ext>
            </a:extLst>
          </p:cNvPr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D8320778-ED7C-46B0-ADD1-40B59E97AB8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682149F4-25AF-4587-82A1-90A189B37030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DD6C568C-C86D-4680-9720-BF3AA840B560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D3E62BA7-B228-4AA9-A9F6-8341C5858C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4DD6CA9-A684-40E1-9CF4-F1FF56A28D0B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01105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:a16="http://schemas.microsoft.com/office/drawing/2014/main" id="{428314B2-3022-4FF6-9BDE-0D300711EB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Gray">
            <a:extLst>
              <a:ext uri="{FF2B5EF4-FFF2-40B4-BE49-F238E27FC236}">
                <a16:creationId xmlns:a16="http://schemas.microsoft.com/office/drawing/2014/main" id="{F2D5B169-E36E-4105-AF22-4A990AD6048D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9">
            <a:extLst>
              <a:ext uri="{FF2B5EF4-FFF2-40B4-BE49-F238E27FC236}">
                <a16:creationId xmlns:a16="http://schemas.microsoft.com/office/drawing/2014/main" id="{1E0A2575-66B4-40CD-84E3-1C4B1485524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55319A8-8430-4702-BC2B-54278B3AF582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6880E4B0-02F3-43DA-815D-6790392B468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">
          <a:xfrm>
            <a:off x="775384" y="1785600"/>
            <a:ext cx="4269724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D82BAB22-3AAB-44D2-BDB5-64B800BBFE6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2DF48E1-5637-41D8-98EE-4D16B53AF34B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707576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>
            <a:extLst>
              <a:ext uri="{FF2B5EF4-FFF2-40B4-BE49-F238E27FC236}">
                <a16:creationId xmlns:a16="http://schemas.microsoft.com/office/drawing/2014/main" id="{B75052C7-56B3-40D4-8703-73F2F63CB0F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nelGray">
            <a:extLst>
              <a:ext uri="{FF2B5EF4-FFF2-40B4-BE49-F238E27FC236}">
                <a16:creationId xmlns:a16="http://schemas.microsoft.com/office/drawing/2014/main" id="{5F4C0552-55E3-418A-B31F-31A4499D2739}"/>
              </a:ext>
            </a:extLst>
          </p:cNvPr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>
            <a:extLst>
              <a:ext uri="{FF2B5EF4-FFF2-40B4-BE49-F238E27FC236}">
                <a16:creationId xmlns:a16="http://schemas.microsoft.com/office/drawing/2014/main" id="{6D516B55-6EE7-4744-AE55-46596B60E99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A613EF2E-B28A-48BD-AA6E-DCC4530C265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ooterSimple" hidden="1">
            <a:extLst>
              <a:ext uri="{FF2B5EF4-FFF2-40B4-BE49-F238E27FC236}">
                <a16:creationId xmlns:a16="http://schemas.microsoft.com/office/drawing/2014/main" id="{103C6FDB-D35D-493F-8FF9-AD2395046AC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608985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92327FC4-4F6A-44F6-B1B2-3FF80FF08A04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1FE8F432-C4E9-4962-80DF-ED863242DD7B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525697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4C8FE455-8E0B-41A0-9901-5534C59DEF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175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:a16="http://schemas.microsoft.com/office/drawing/2014/main" id="{A183A0E4-E925-428A-BA4D-AC215A7651A9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2EE3A298-6C4C-4E20-9F08-60A586446D2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8A13C7F-E63E-4601-A5FF-E05F5D61813E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A99E680A-6972-4BBA-9B9A-2D4E57291714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/>
          </p:nvPr>
        </p:nvSpPr>
        <p:spPr>
          <a:xfrm>
            <a:off x="775386" y="2680200"/>
            <a:ext cx="2442215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046AD7B7-2CCC-4FDA-AF07-52B847B55F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C9376AD-38B1-4BAC-8C50-632BAD286A67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6587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E0C0A584-59B5-45E6-9A74-0D90B81780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990535-6ED9-4568-8AB0-23720C1DA769}" type="datetime1">
              <a:rPr lang="en-US" smtClean="0"/>
              <a:t>5/25/2021</a:t>
            </a:fld>
            <a:endParaRPr lang="en-US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B6ECB66C-6362-4EF8-A625-56150F01C0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AD3E7536-F853-48E8-868C-200DD6834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DBCA9D-C52C-40FE-A00C-9CEA45ABBEE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907563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:a16="http://schemas.microsoft.com/office/drawing/2014/main" id="{83685A42-6F5A-4218-9928-C36231F35BA2}"/>
              </a:ext>
            </a:extLst>
          </p:cNvPr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A0AA1BF4-D3B2-457C-9AFC-ED59BA61572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74CAA52-3910-4D65-8630-9A267350232D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16A25A17-FDBF-4F7B-816B-B13396948D7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42595F39-7C9C-4439-95E3-812682343B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216" b="7716"/>
          <a:stretch/>
        </p:blipFill>
        <p:spPr>
          <a:xfrm rot="120000">
            <a:off x="1734732" y="3402829"/>
            <a:ext cx="3316512" cy="3461745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75386" y="2680199"/>
            <a:ext cx="2442215" cy="1497600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255B66F3-DED8-4405-801F-E3CF454324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6C68B809-CAD8-457A-86E1-77DED516AF5E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627782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B8E7136A-FB09-4A57-96FA-43771A5ABF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613" y="3395663"/>
            <a:ext cx="1597025" cy="357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:a16="http://schemas.microsoft.com/office/drawing/2014/main" id="{2F0AC1FB-1108-434F-AEDA-AB1B70DD50C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5656D4F2-BEDF-426F-823C-2AF5384BCD6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21AFD5F-2D5D-4785-B364-F756363F0E84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8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C422F4C6-16DF-433B-8FDD-0D3CDD3F46B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4AE3DC8C-3B4B-4653-BD5C-6988C0D995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3BDBB05-F484-47A4-A753-49217739D8CE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890677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:a16="http://schemas.microsoft.com/office/drawing/2014/main" id="{F3151FA9-A0B4-4F80-A27B-4567819F19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4F626DB6-4B16-44EF-9CFC-4A0124D654E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0A5A42E9-865F-4181-9011-DEB2EB9FE14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0DED43CB-3A20-4123-A47A-61C6426F47B9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FFDADD14-0772-4376-A79B-AE1D93E738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7562" b="6867"/>
          <a:stretch/>
        </p:blipFill>
        <p:spPr>
          <a:xfrm>
            <a:off x="3181073" y="3416300"/>
            <a:ext cx="3316512" cy="34417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34CD1DDD-A3C4-4BEE-8E14-2A47ADC6BB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90CE0F16-1A54-4114-A071-A38DBDA74CF8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175123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EAE85CC7-0BEF-436D-847B-3E5CB4EE387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350" y="3594100"/>
            <a:ext cx="1681163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:a16="http://schemas.microsoft.com/office/drawing/2014/main" id="{B8DEA762-3356-48EC-A89D-ACC381FA701E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6BD1E882-F7B3-4B1F-BFFA-B41FC4CD98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D6139C9-20F1-4DE7-9015-31AE6D4838E0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D1432E18-AD3B-4DCE-835D-7CE7FEC33D2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2D338B82-C011-48EA-8728-4FF87B0C54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ACC0EBD-C621-4CEF-9F90-E124FDCE7404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080480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:a16="http://schemas.microsoft.com/office/drawing/2014/main" id="{FA3584AB-9F89-4A01-891C-A3C1A827122A}"/>
              </a:ext>
            </a:extLst>
          </p:cNvPr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62EC5AA5-B74B-4EB5-AFAF-0E07AE9BB7B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F925BD5-87FA-4D74-819C-D587FC30CABE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4E07B2D6-4DFD-481E-A536-48524C1E0135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8">
            <a:extLst>
              <a:ext uri="{FF2B5EF4-FFF2-40B4-BE49-F238E27FC236}">
                <a16:creationId xmlns:a16="http://schemas.microsoft.com/office/drawing/2014/main" id="{4C853392-4473-4CEB-A8E3-5A0FC8CA01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4044426" y="3407804"/>
            <a:ext cx="3316512" cy="3456551"/>
          </a:xfrm>
          <a:prstGeom prst="rect">
            <a:avLst/>
          </a:prstGeom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0"/>
            <a:ext cx="4550338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7E73D58A-1578-4B5F-ACE3-F9E6839BCC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532FB84-F2B5-49DE-AA0A-7440D3FD7667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901797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>
            <a:extLst>
              <a:ext uri="{FF2B5EF4-FFF2-40B4-BE49-F238E27FC236}">
                <a16:creationId xmlns:a16="http://schemas.microsoft.com/office/drawing/2014/main" id="{7180EA57-11E4-4F5D-B286-A69EA842F4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138" y="3594100"/>
            <a:ext cx="1679575" cy="338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rrowPanelGray">
            <a:extLst>
              <a:ext uri="{FF2B5EF4-FFF2-40B4-BE49-F238E27FC236}">
                <a16:creationId xmlns:a16="http://schemas.microsoft.com/office/drawing/2014/main" id="{5160BA35-BF53-4A31-BC84-D0945CF4647B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>
            <a:extLst>
              <a:ext uri="{FF2B5EF4-FFF2-40B4-BE49-F238E27FC236}">
                <a16:creationId xmlns:a16="http://schemas.microsoft.com/office/drawing/2014/main" id="{E2B18E34-1087-40A2-AFB6-F3F6FED9848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E7417E5-51DF-4A9B-9B02-EB2A1D603956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0CC5DFA0-0B0F-43B0-B83B-EC16281E03A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EA00FA7D-0AF7-46E6-89CE-7F692EBF10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49A90F8-8CF9-4D3F-AD85-2426429B94D3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632912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>
            <a:extLst>
              <a:ext uri="{FF2B5EF4-FFF2-40B4-BE49-F238E27FC236}">
                <a16:creationId xmlns:a16="http://schemas.microsoft.com/office/drawing/2014/main" id="{F69E376B-4ED0-4B8A-944C-8FBABF6BCCA0}"/>
              </a:ext>
            </a:extLst>
          </p:cNvPr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>
            <a:extLst>
              <a:ext uri="{FF2B5EF4-FFF2-40B4-BE49-F238E27FC236}">
                <a16:creationId xmlns:a16="http://schemas.microsoft.com/office/drawing/2014/main" id="{EFCDC447-AD47-4A95-AD37-8D1F4D948A6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8C00B353-3FAF-4B13-AE72-02BF43FD1BBF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FooterSimple" hidden="1">
            <a:extLst>
              <a:ext uri="{FF2B5EF4-FFF2-40B4-BE49-F238E27FC236}">
                <a16:creationId xmlns:a16="http://schemas.microsoft.com/office/drawing/2014/main" id="{260D918B-D27B-40E6-B278-8F506C4A7DFB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pic>
        <p:nvPicPr>
          <p:cNvPr id="6" name="Picture 19">
            <a:extLst>
              <a:ext uri="{FF2B5EF4-FFF2-40B4-BE49-F238E27FC236}">
                <a16:creationId xmlns:a16="http://schemas.microsoft.com/office/drawing/2014/main" id="{764DE988-B908-433B-8F84-DA54DBCA3B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9052" b="6867"/>
          <a:stretch/>
        </p:blipFill>
        <p:spPr>
          <a:xfrm rot="120000">
            <a:off x="6006999" y="3407804"/>
            <a:ext cx="3316512" cy="3456551"/>
          </a:xfrm>
          <a:prstGeom prst="rect">
            <a:avLst/>
          </a:prstGeom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88800"/>
          </a:xfr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F96AC80A-A1D5-41A1-AAA4-6863CEF5D6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F2D07582-7F71-470A-9F44-1C8E06CE1A11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94079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>
            <a:extLst>
              <a:ext uri="{FF2B5EF4-FFF2-40B4-BE49-F238E27FC236}">
                <a16:creationId xmlns:a16="http://schemas.microsoft.com/office/drawing/2014/main" id="{1EB1AC50-553F-4BCA-8D7C-99C8F93BB2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49E43E9-FF00-4CDA-B95E-572888F69EBB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FooterSimple" hidden="1">
            <a:extLst>
              <a:ext uri="{FF2B5EF4-FFF2-40B4-BE49-F238E27FC236}">
                <a16:creationId xmlns:a16="http://schemas.microsoft.com/office/drawing/2014/main" id="{06E527AE-D998-4549-869F-363DF9B8D28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F923B41D-D44C-45EC-95AE-F3E2CD11F0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B836293D-FE16-4B94-B596-D11FB20CA22E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1540403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A124119E-D131-4217-A6E3-8AAF9A525B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01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95234" name="Object 1" hidden="1">
                        <a:extLst>
                          <a:ext uri="{FF2B5EF4-FFF2-40B4-BE49-F238E27FC236}">
                            <a16:creationId xmlns:a16="http://schemas.microsoft.com/office/drawing/2014/main" id="{985474DA-1816-489A-8873-0FDE23BC5EF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age">
            <a:extLst>
              <a:ext uri="{FF2B5EF4-FFF2-40B4-BE49-F238E27FC236}">
                <a16:creationId xmlns:a16="http://schemas.microsoft.com/office/drawing/2014/main" id="{81B691A6-ED9F-4A18-9B34-248D295F906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91CA222F-D272-4759-8AA4-1448CE2B512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Square">
            <a:extLst>
              <a:ext uri="{FF2B5EF4-FFF2-40B4-BE49-F238E27FC236}">
                <a16:creationId xmlns:a16="http://schemas.microsoft.com/office/drawing/2014/main" id="{5D44B74E-923B-4821-A161-A544F7E035F9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774700" y="625475"/>
            <a:ext cx="1130300" cy="917575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FooterSimple" hidden="1">
            <a:extLst>
              <a:ext uri="{FF2B5EF4-FFF2-40B4-BE49-F238E27FC236}">
                <a16:creationId xmlns:a16="http://schemas.microsoft.com/office/drawing/2014/main" id="{784EF681-314F-40B2-B736-9DFE066F453A}"/>
              </a:ext>
            </a:extLst>
          </p:cNvPr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10500519" y="5117306"/>
            <a:ext cx="2743200" cy="9683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 Задача 1.</a:t>
            </a:r>
            <a:r>
              <a:rPr lang="en-US" altLang="en-US" sz="70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pptx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97404CF4-9636-4DA5-B291-BF0520ADD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D66077E0-BC5E-4116-BBC5-7DC21D0484D5}" type="datetime1">
              <a:rPr lang="en-US" smtClean="0"/>
              <a:t>5/25/20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996558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dow">
            <a:extLst>
              <a:ext uri="{FF2B5EF4-FFF2-40B4-BE49-F238E27FC236}">
                <a16:creationId xmlns:a16="http://schemas.microsoft.com/office/drawing/2014/main" id="{FE7398F7-BE96-4F61-915A-8DA5AAEF1A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Bubble">
            <a:extLst>
              <a:ext uri="{FF2B5EF4-FFF2-40B4-BE49-F238E27FC236}">
                <a16:creationId xmlns:a16="http://schemas.microsoft.com/office/drawing/2014/main" id="{4605AA26-3186-452F-A857-184E5BC7865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888C7B0-988B-4CFF-85C0-AF2CF6A62F1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" name="Right Triangle 55">
              <a:extLst>
                <a:ext uri="{FF2B5EF4-FFF2-40B4-BE49-F238E27FC236}">
                  <a16:creationId xmlns:a16="http://schemas.microsoft.com/office/drawing/2014/main" id="{09691107-F92D-480D-8EF8-C873D9DC1B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>
                <a:solidFill>
                  <a:srgbClr val="54545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6" name="Page">
            <a:extLst>
              <a:ext uri="{FF2B5EF4-FFF2-40B4-BE49-F238E27FC236}">
                <a16:creationId xmlns:a16="http://schemas.microsoft.com/office/drawing/2014/main" id="{8E7A6F32-9EBE-4BDE-B777-B2196508A65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FAB6B2F-1E96-4ED5-8244-8F3AB071B679}" type="slidenum">
              <a:rPr lang="en-US" altLang="en-US" sz="1000" smtClean="0">
                <a:solidFill>
                  <a:srgbClr val="FFFFF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04078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63" Type="http://schemas.openxmlformats.org/officeDocument/2006/relationships/slideLayout" Target="../slideLayouts/slideLayout74.xml"/><Relationship Id="rId68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71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slideLayout" Target="../slideLayouts/slideLayout77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61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69" Type="http://schemas.openxmlformats.org/officeDocument/2006/relationships/vmlDrawing" Target="../drawings/vmlDrawing2.v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72" Type="http://schemas.openxmlformats.org/officeDocument/2006/relationships/image" Target="../media/image2.emf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Relationship Id="rId70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26" Type="http://schemas.openxmlformats.org/officeDocument/2006/relationships/slideLayout" Target="../slideLayouts/slideLayout104.xml"/><Relationship Id="rId39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99.xml"/><Relationship Id="rId34" Type="http://schemas.openxmlformats.org/officeDocument/2006/relationships/slideLayout" Target="../slideLayouts/slideLayout112.xml"/><Relationship Id="rId42" Type="http://schemas.openxmlformats.org/officeDocument/2006/relationships/slideLayout" Target="../slideLayouts/slideLayout120.xml"/><Relationship Id="rId47" Type="http://schemas.openxmlformats.org/officeDocument/2006/relationships/slideLayout" Target="../slideLayouts/slideLayout125.xml"/><Relationship Id="rId50" Type="http://schemas.openxmlformats.org/officeDocument/2006/relationships/slideLayout" Target="../slideLayouts/slideLayout128.xml"/><Relationship Id="rId55" Type="http://schemas.openxmlformats.org/officeDocument/2006/relationships/slideLayout" Target="../slideLayouts/slideLayout133.xml"/><Relationship Id="rId63" Type="http://schemas.openxmlformats.org/officeDocument/2006/relationships/slideLayout" Target="../slideLayouts/slideLayout141.xml"/><Relationship Id="rId68" Type="http://schemas.openxmlformats.org/officeDocument/2006/relationships/tags" Target="../tags/tag105.xml"/><Relationship Id="rId7" Type="http://schemas.openxmlformats.org/officeDocument/2006/relationships/slideLayout" Target="../slideLayouts/slideLayout85.xml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24" Type="http://schemas.openxmlformats.org/officeDocument/2006/relationships/slideLayout" Target="../slideLayouts/slideLayout102.xml"/><Relationship Id="rId32" Type="http://schemas.openxmlformats.org/officeDocument/2006/relationships/slideLayout" Target="../slideLayouts/slideLayout110.xml"/><Relationship Id="rId37" Type="http://schemas.openxmlformats.org/officeDocument/2006/relationships/slideLayout" Target="../slideLayouts/slideLayout115.xml"/><Relationship Id="rId40" Type="http://schemas.openxmlformats.org/officeDocument/2006/relationships/slideLayout" Target="../slideLayouts/slideLayout118.xml"/><Relationship Id="rId45" Type="http://schemas.openxmlformats.org/officeDocument/2006/relationships/slideLayout" Target="../slideLayouts/slideLayout123.xml"/><Relationship Id="rId53" Type="http://schemas.openxmlformats.org/officeDocument/2006/relationships/slideLayout" Target="../slideLayouts/slideLayout131.xml"/><Relationship Id="rId58" Type="http://schemas.openxmlformats.org/officeDocument/2006/relationships/slideLayout" Target="../slideLayouts/slideLayout136.xml"/><Relationship Id="rId66" Type="http://schemas.openxmlformats.org/officeDocument/2006/relationships/theme" Target="../theme/theme3.xml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23" Type="http://schemas.openxmlformats.org/officeDocument/2006/relationships/slideLayout" Target="../slideLayouts/slideLayout101.xml"/><Relationship Id="rId28" Type="http://schemas.openxmlformats.org/officeDocument/2006/relationships/slideLayout" Target="../slideLayouts/slideLayout106.xml"/><Relationship Id="rId36" Type="http://schemas.openxmlformats.org/officeDocument/2006/relationships/slideLayout" Target="../slideLayouts/slideLayout114.xml"/><Relationship Id="rId49" Type="http://schemas.openxmlformats.org/officeDocument/2006/relationships/slideLayout" Target="../slideLayouts/slideLayout127.xml"/><Relationship Id="rId57" Type="http://schemas.openxmlformats.org/officeDocument/2006/relationships/slideLayout" Target="../slideLayouts/slideLayout135.xml"/><Relationship Id="rId61" Type="http://schemas.openxmlformats.org/officeDocument/2006/relationships/slideLayout" Target="../slideLayouts/slideLayout139.xml"/><Relationship Id="rId10" Type="http://schemas.openxmlformats.org/officeDocument/2006/relationships/slideLayout" Target="../slideLayouts/slideLayout88.xml"/><Relationship Id="rId19" Type="http://schemas.openxmlformats.org/officeDocument/2006/relationships/slideLayout" Target="../slideLayouts/slideLayout97.xml"/><Relationship Id="rId31" Type="http://schemas.openxmlformats.org/officeDocument/2006/relationships/slideLayout" Target="../slideLayouts/slideLayout109.xml"/><Relationship Id="rId44" Type="http://schemas.openxmlformats.org/officeDocument/2006/relationships/slideLayout" Target="../slideLayouts/slideLayout122.xml"/><Relationship Id="rId52" Type="http://schemas.openxmlformats.org/officeDocument/2006/relationships/slideLayout" Target="../slideLayouts/slideLayout130.xml"/><Relationship Id="rId60" Type="http://schemas.openxmlformats.org/officeDocument/2006/relationships/slideLayout" Target="../slideLayouts/slideLayout138.xml"/><Relationship Id="rId65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Relationship Id="rId22" Type="http://schemas.openxmlformats.org/officeDocument/2006/relationships/slideLayout" Target="../slideLayouts/slideLayout100.xml"/><Relationship Id="rId27" Type="http://schemas.openxmlformats.org/officeDocument/2006/relationships/slideLayout" Target="../slideLayouts/slideLayout105.xml"/><Relationship Id="rId30" Type="http://schemas.openxmlformats.org/officeDocument/2006/relationships/slideLayout" Target="../slideLayouts/slideLayout108.xml"/><Relationship Id="rId35" Type="http://schemas.openxmlformats.org/officeDocument/2006/relationships/slideLayout" Target="../slideLayouts/slideLayout113.xml"/><Relationship Id="rId43" Type="http://schemas.openxmlformats.org/officeDocument/2006/relationships/slideLayout" Target="../slideLayouts/slideLayout121.xml"/><Relationship Id="rId48" Type="http://schemas.openxmlformats.org/officeDocument/2006/relationships/slideLayout" Target="../slideLayouts/slideLayout126.xml"/><Relationship Id="rId56" Type="http://schemas.openxmlformats.org/officeDocument/2006/relationships/slideLayout" Target="../slideLayouts/slideLayout134.xml"/><Relationship Id="rId64" Type="http://schemas.openxmlformats.org/officeDocument/2006/relationships/slideLayout" Target="../slideLayouts/slideLayout142.xml"/><Relationship Id="rId69" Type="http://schemas.openxmlformats.org/officeDocument/2006/relationships/oleObject" Target="../embeddings/oleObject32.bin"/><Relationship Id="rId8" Type="http://schemas.openxmlformats.org/officeDocument/2006/relationships/slideLayout" Target="../slideLayouts/slideLayout86.xml"/><Relationship Id="rId51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25" Type="http://schemas.openxmlformats.org/officeDocument/2006/relationships/slideLayout" Target="../slideLayouts/slideLayout103.xml"/><Relationship Id="rId33" Type="http://schemas.openxmlformats.org/officeDocument/2006/relationships/slideLayout" Target="../slideLayouts/slideLayout111.xml"/><Relationship Id="rId38" Type="http://schemas.openxmlformats.org/officeDocument/2006/relationships/slideLayout" Target="../slideLayouts/slideLayout116.xml"/><Relationship Id="rId46" Type="http://schemas.openxmlformats.org/officeDocument/2006/relationships/slideLayout" Target="../slideLayouts/slideLayout124.xml"/><Relationship Id="rId59" Type="http://schemas.openxmlformats.org/officeDocument/2006/relationships/slideLayout" Target="../slideLayouts/slideLayout137.xml"/><Relationship Id="rId67" Type="http://schemas.openxmlformats.org/officeDocument/2006/relationships/vmlDrawing" Target="../drawings/vmlDrawing29.vml"/><Relationship Id="rId20" Type="http://schemas.openxmlformats.org/officeDocument/2006/relationships/slideLayout" Target="../slideLayouts/slideLayout98.xml"/><Relationship Id="rId41" Type="http://schemas.openxmlformats.org/officeDocument/2006/relationships/slideLayout" Target="../slideLayouts/slideLayout119.xml"/><Relationship Id="rId54" Type="http://schemas.openxmlformats.org/officeDocument/2006/relationships/slideLayout" Target="../slideLayouts/slideLayout132.xml"/><Relationship Id="rId62" Type="http://schemas.openxmlformats.org/officeDocument/2006/relationships/slideLayout" Target="../slideLayouts/slideLayout140.xml"/><Relationship Id="rId70" Type="http://schemas.openxmlformats.org/officeDocument/2006/relationships/image" Target="../media/image2.emf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6.xml"/><Relationship Id="rId18" Type="http://schemas.openxmlformats.org/officeDocument/2006/relationships/slideLayout" Target="../slideLayouts/slideLayout161.xml"/><Relationship Id="rId26" Type="http://schemas.openxmlformats.org/officeDocument/2006/relationships/slideLayout" Target="../slideLayouts/slideLayout169.xml"/><Relationship Id="rId39" Type="http://schemas.openxmlformats.org/officeDocument/2006/relationships/slideLayout" Target="../slideLayouts/slideLayout182.xml"/><Relationship Id="rId21" Type="http://schemas.openxmlformats.org/officeDocument/2006/relationships/slideLayout" Target="../slideLayouts/slideLayout164.xml"/><Relationship Id="rId34" Type="http://schemas.openxmlformats.org/officeDocument/2006/relationships/slideLayout" Target="../slideLayouts/slideLayout177.xml"/><Relationship Id="rId42" Type="http://schemas.openxmlformats.org/officeDocument/2006/relationships/slideLayout" Target="../slideLayouts/slideLayout185.xml"/><Relationship Id="rId47" Type="http://schemas.openxmlformats.org/officeDocument/2006/relationships/slideLayout" Target="../slideLayouts/slideLayout190.xml"/><Relationship Id="rId50" Type="http://schemas.openxmlformats.org/officeDocument/2006/relationships/slideLayout" Target="../slideLayouts/slideLayout193.xml"/><Relationship Id="rId55" Type="http://schemas.openxmlformats.org/officeDocument/2006/relationships/slideLayout" Target="../slideLayouts/slideLayout198.xml"/><Relationship Id="rId63" Type="http://schemas.openxmlformats.org/officeDocument/2006/relationships/slideLayout" Target="../slideLayouts/slideLayout206.xml"/><Relationship Id="rId68" Type="http://schemas.openxmlformats.org/officeDocument/2006/relationships/tags" Target="../tags/tag204.xml"/><Relationship Id="rId7" Type="http://schemas.openxmlformats.org/officeDocument/2006/relationships/slideLayout" Target="../slideLayouts/slideLayout150.xml"/><Relationship Id="rId2" Type="http://schemas.openxmlformats.org/officeDocument/2006/relationships/slideLayout" Target="../slideLayouts/slideLayout145.xml"/><Relationship Id="rId16" Type="http://schemas.openxmlformats.org/officeDocument/2006/relationships/slideLayout" Target="../slideLayouts/slideLayout159.xml"/><Relationship Id="rId29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24" Type="http://schemas.openxmlformats.org/officeDocument/2006/relationships/slideLayout" Target="../slideLayouts/slideLayout167.xml"/><Relationship Id="rId32" Type="http://schemas.openxmlformats.org/officeDocument/2006/relationships/slideLayout" Target="../slideLayouts/slideLayout175.xml"/><Relationship Id="rId37" Type="http://schemas.openxmlformats.org/officeDocument/2006/relationships/slideLayout" Target="../slideLayouts/slideLayout180.xml"/><Relationship Id="rId40" Type="http://schemas.openxmlformats.org/officeDocument/2006/relationships/slideLayout" Target="../slideLayouts/slideLayout183.xml"/><Relationship Id="rId45" Type="http://schemas.openxmlformats.org/officeDocument/2006/relationships/slideLayout" Target="../slideLayouts/slideLayout188.xml"/><Relationship Id="rId53" Type="http://schemas.openxmlformats.org/officeDocument/2006/relationships/slideLayout" Target="../slideLayouts/slideLayout196.xml"/><Relationship Id="rId58" Type="http://schemas.openxmlformats.org/officeDocument/2006/relationships/slideLayout" Target="../slideLayouts/slideLayout201.xml"/><Relationship Id="rId66" Type="http://schemas.openxmlformats.org/officeDocument/2006/relationships/theme" Target="../theme/theme4.xml"/><Relationship Id="rId5" Type="http://schemas.openxmlformats.org/officeDocument/2006/relationships/slideLayout" Target="../slideLayouts/slideLayout148.xml"/><Relationship Id="rId15" Type="http://schemas.openxmlformats.org/officeDocument/2006/relationships/slideLayout" Target="../slideLayouts/slideLayout158.xml"/><Relationship Id="rId23" Type="http://schemas.openxmlformats.org/officeDocument/2006/relationships/slideLayout" Target="../slideLayouts/slideLayout166.xml"/><Relationship Id="rId28" Type="http://schemas.openxmlformats.org/officeDocument/2006/relationships/slideLayout" Target="../slideLayouts/slideLayout171.xml"/><Relationship Id="rId36" Type="http://schemas.openxmlformats.org/officeDocument/2006/relationships/slideLayout" Target="../slideLayouts/slideLayout179.xml"/><Relationship Id="rId49" Type="http://schemas.openxmlformats.org/officeDocument/2006/relationships/slideLayout" Target="../slideLayouts/slideLayout192.xml"/><Relationship Id="rId57" Type="http://schemas.openxmlformats.org/officeDocument/2006/relationships/slideLayout" Target="../slideLayouts/slideLayout200.xml"/><Relationship Id="rId61" Type="http://schemas.openxmlformats.org/officeDocument/2006/relationships/slideLayout" Target="../slideLayouts/slideLayout204.xml"/><Relationship Id="rId10" Type="http://schemas.openxmlformats.org/officeDocument/2006/relationships/slideLayout" Target="../slideLayouts/slideLayout153.xml"/><Relationship Id="rId19" Type="http://schemas.openxmlformats.org/officeDocument/2006/relationships/slideLayout" Target="../slideLayouts/slideLayout162.xml"/><Relationship Id="rId31" Type="http://schemas.openxmlformats.org/officeDocument/2006/relationships/slideLayout" Target="../slideLayouts/slideLayout174.xml"/><Relationship Id="rId44" Type="http://schemas.openxmlformats.org/officeDocument/2006/relationships/slideLayout" Target="../slideLayouts/slideLayout187.xml"/><Relationship Id="rId52" Type="http://schemas.openxmlformats.org/officeDocument/2006/relationships/slideLayout" Target="../slideLayouts/slideLayout195.xml"/><Relationship Id="rId60" Type="http://schemas.openxmlformats.org/officeDocument/2006/relationships/slideLayout" Target="../slideLayouts/slideLayout203.xml"/><Relationship Id="rId65" Type="http://schemas.openxmlformats.org/officeDocument/2006/relationships/slideLayout" Target="../slideLayouts/slideLayout208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slideLayout" Target="../slideLayouts/slideLayout157.xml"/><Relationship Id="rId22" Type="http://schemas.openxmlformats.org/officeDocument/2006/relationships/slideLayout" Target="../slideLayouts/slideLayout165.xml"/><Relationship Id="rId27" Type="http://schemas.openxmlformats.org/officeDocument/2006/relationships/slideLayout" Target="../slideLayouts/slideLayout170.xml"/><Relationship Id="rId30" Type="http://schemas.openxmlformats.org/officeDocument/2006/relationships/slideLayout" Target="../slideLayouts/slideLayout173.xml"/><Relationship Id="rId35" Type="http://schemas.openxmlformats.org/officeDocument/2006/relationships/slideLayout" Target="../slideLayouts/slideLayout178.xml"/><Relationship Id="rId43" Type="http://schemas.openxmlformats.org/officeDocument/2006/relationships/slideLayout" Target="../slideLayouts/slideLayout186.xml"/><Relationship Id="rId48" Type="http://schemas.openxmlformats.org/officeDocument/2006/relationships/slideLayout" Target="../slideLayouts/slideLayout191.xml"/><Relationship Id="rId56" Type="http://schemas.openxmlformats.org/officeDocument/2006/relationships/slideLayout" Target="../slideLayouts/slideLayout199.xml"/><Relationship Id="rId64" Type="http://schemas.openxmlformats.org/officeDocument/2006/relationships/slideLayout" Target="../slideLayouts/slideLayout207.xml"/><Relationship Id="rId69" Type="http://schemas.openxmlformats.org/officeDocument/2006/relationships/oleObject" Target="../embeddings/oleObject60.bin"/><Relationship Id="rId8" Type="http://schemas.openxmlformats.org/officeDocument/2006/relationships/slideLayout" Target="../slideLayouts/slideLayout151.xml"/><Relationship Id="rId51" Type="http://schemas.openxmlformats.org/officeDocument/2006/relationships/slideLayout" Target="../slideLayouts/slideLayout194.xml"/><Relationship Id="rId3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55.xml"/><Relationship Id="rId17" Type="http://schemas.openxmlformats.org/officeDocument/2006/relationships/slideLayout" Target="../slideLayouts/slideLayout160.xml"/><Relationship Id="rId25" Type="http://schemas.openxmlformats.org/officeDocument/2006/relationships/slideLayout" Target="../slideLayouts/slideLayout168.xml"/><Relationship Id="rId33" Type="http://schemas.openxmlformats.org/officeDocument/2006/relationships/slideLayout" Target="../slideLayouts/slideLayout176.xml"/><Relationship Id="rId38" Type="http://schemas.openxmlformats.org/officeDocument/2006/relationships/slideLayout" Target="../slideLayouts/slideLayout181.xml"/><Relationship Id="rId46" Type="http://schemas.openxmlformats.org/officeDocument/2006/relationships/slideLayout" Target="../slideLayouts/slideLayout189.xml"/><Relationship Id="rId59" Type="http://schemas.openxmlformats.org/officeDocument/2006/relationships/slideLayout" Target="../slideLayouts/slideLayout202.xml"/><Relationship Id="rId67" Type="http://schemas.openxmlformats.org/officeDocument/2006/relationships/vmlDrawing" Target="../drawings/vmlDrawing54.vml"/><Relationship Id="rId20" Type="http://schemas.openxmlformats.org/officeDocument/2006/relationships/slideLayout" Target="../slideLayouts/slideLayout163.xml"/><Relationship Id="rId41" Type="http://schemas.openxmlformats.org/officeDocument/2006/relationships/slideLayout" Target="../slideLayouts/slideLayout184.xml"/><Relationship Id="rId54" Type="http://schemas.openxmlformats.org/officeDocument/2006/relationships/slideLayout" Target="../slideLayouts/slideLayout197.xml"/><Relationship Id="rId62" Type="http://schemas.openxmlformats.org/officeDocument/2006/relationships/slideLayout" Target="../slideLayouts/slideLayout205.xml"/><Relationship Id="rId70" Type="http://schemas.openxmlformats.org/officeDocument/2006/relationships/image" Target="../media/image2.emf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1.xml"/><Relationship Id="rId18" Type="http://schemas.openxmlformats.org/officeDocument/2006/relationships/slideLayout" Target="../slideLayouts/slideLayout226.xml"/><Relationship Id="rId26" Type="http://schemas.openxmlformats.org/officeDocument/2006/relationships/slideLayout" Target="../slideLayouts/slideLayout234.xml"/><Relationship Id="rId39" Type="http://schemas.openxmlformats.org/officeDocument/2006/relationships/slideLayout" Target="../slideLayouts/slideLayout247.xml"/><Relationship Id="rId21" Type="http://schemas.openxmlformats.org/officeDocument/2006/relationships/slideLayout" Target="../slideLayouts/slideLayout229.xml"/><Relationship Id="rId34" Type="http://schemas.openxmlformats.org/officeDocument/2006/relationships/slideLayout" Target="../slideLayouts/slideLayout242.xml"/><Relationship Id="rId42" Type="http://schemas.openxmlformats.org/officeDocument/2006/relationships/slideLayout" Target="../slideLayouts/slideLayout250.xml"/><Relationship Id="rId47" Type="http://schemas.openxmlformats.org/officeDocument/2006/relationships/slideLayout" Target="../slideLayouts/slideLayout255.xml"/><Relationship Id="rId50" Type="http://schemas.openxmlformats.org/officeDocument/2006/relationships/slideLayout" Target="../slideLayouts/slideLayout258.xml"/><Relationship Id="rId55" Type="http://schemas.openxmlformats.org/officeDocument/2006/relationships/slideLayout" Target="../slideLayouts/slideLayout263.xml"/><Relationship Id="rId63" Type="http://schemas.openxmlformats.org/officeDocument/2006/relationships/slideLayout" Target="../slideLayouts/slideLayout271.xml"/><Relationship Id="rId68" Type="http://schemas.openxmlformats.org/officeDocument/2006/relationships/vmlDrawing" Target="../drawings/vmlDrawing79.vml"/><Relationship Id="rId7" Type="http://schemas.openxmlformats.org/officeDocument/2006/relationships/slideLayout" Target="../slideLayouts/slideLayout215.xml"/><Relationship Id="rId71" Type="http://schemas.openxmlformats.org/officeDocument/2006/relationships/image" Target="../media/image2.emf"/><Relationship Id="rId2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224.xml"/><Relationship Id="rId29" Type="http://schemas.openxmlformats.org/officeDocument/2006/relationships/slideLayout" Target="../slideLayouts/slideLayout237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24" Type="http://schemas.openxmlformats.org/officeDocument/2006/relationships/slideLayout" Target="../slideLayouts/slideLayout232.xml"/><Relationship Id="rId32" Type="http://schemas.openxmlformats.org/officeDocument/2006/relationships/slideLayout" Target="../slideLayouts/slideLayout240.xml"/><Relationship Id="rId37" Type="http://schemas.openxmlformats.org/officeDocument/2006/relationships/slideLayout" Target="../slideLayouts/slideLayout245.xml"/><Relationship Id="rId40" Type="http://schemas.openxmlformats.org/officeDocument/2006/relationships/slideLayout" Target="../slideLayouts/slideLayout248.xml"/><Relationship Id="rId45" Type="http://schemas.openxmlformats.org/officeDocument/2006/relationships/slideLayout" Target="../slideLayouts/slideLayout253.xml"/><Relationship Id="rId53" Type="http://schemas.openxmlformats.org/officeDocument/2006/relationships/slideLayout" Target="../slideLayouts/slideLayout261.xml"/><Relationship Id="rId58" Type="http://schemas.openxmlformats.org/officeDocument/2006/relationships/slideLayout" Target="../slideLayouts/slideLayout266.xml"/><Relationship Id="rId66" Type="http://schemas.openxmlformats.org/officeDocument/2006/relationships/slideLayout" Target="../slideLayouts/slideLayout274.xml"/><Relationship Id="rId5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223.xml"/><Relationship Id="rId23" Type="http://schemas.openxmlformats.org/officeDocument/2006/relationships/slideLayout" Target="../slideLayouts/slideLayout231.xml"/><Relationship Id="rId28" Type="http://schemas.openxmlformats.org/officeDocument/2006/relationships/slideLayout" Target="../slideLayouts/slideLayout236.xml"/><Relationship Id="rId36" Type="http://schemas.openxmlformats.org/officeDocument/2006/relationships/slideLayout" Target="../slideLayouts/slideLayout244.xml"/><Relationship Id="rId49" Type="http://schemas.openxmlformats.org/officeDocument/2006/relationships/slideLayout" Target="../slideLayouts/slideLayout257.xml"/><Relationship Id="rId57" Type="http://schemas.openxmlformats.org/officeDocument/2006/relationships/slideLayout" Target="../slideLayouts/slideLayout265.xml"/><Relationship Id="rId61" Type="http://schemas.openxmlformats.org/officeDocument/2006/relationships/slideLayout" Target="../slideLayouts/slideLayout269.xml"/><Relationship Id="rId10" Type="http://schemas.openxmlformats.org/officeDocument/2006/relationships/slideLayout" Target="../slideLayouts/slideLayout218.xml"/><Relationship Id="rId19" Type="http://schemas.openxmlformats.org/officeDocument/2006/relationships/slideLayout" Target="../slideLayouts/slideLayout227.xml"/><Relationship Id="rId31" Type="http://schemas.openxmlformats.org/officeDocument/2006/relationships/slideLayout" Target="../slideLayouts/slideLayout239.xml"/><Relationship Id="rId44" Type="http://schemas.openxmlformats.org/officeDocument/2006/relationships/slideLayout" Target="../slideLayouts/slideLayout252.xml"/><Relationship Id="rId52" Type="http://schemas.openxmlformats.org/officeDocument/2006/relationships/slideLayout" Target="../slideLayouts/slideLayout260.xml"/><Relationship Id="rId60" Type="http://schemas.openxmlformats.org/officeDocument/2006/relationships/slideLayout" Target="../slideLayouts/slideLayout268.xml"/><Relationship Id="rId65" Type="http://schemas.openxmlformats.org/officeDocument/2006/relationships/slideLayout" Target="../slideLayouts/slideLayout273.xml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slideLayout" Target="../slideLayouts/slideLayout222.xml"/><Relationship Id="rId22" Type="http://schemas.openxmlformats.org/officeDocument/2006/relationships/slideLayout" Target="../slideLayouts/slideLayout230.xml"/><Relationship Id="rId27" Type="http://schemas.openxmlformats.org/officeDocument/2006/relationships/slideLayout" Target="../slideLayouts/slideLayout235.xml"/><Relationship Id="rId30" Type="http://schemas.openxmlformats.org/officeDocument/2006/relationships/slideLayout" Target="../slideLayouts/slideLayout238.xml"/><Relationship Id="rId35" Type="http://schemas.openxmlformats.org/officeDocument/2006/relationships/slideLayout" Target="../slideLayouts/slideLayout243.xml"/><Relationship Id="rId43" Type="http://schemas.openxmlformats.org/officeDocument/2006/relationships/slideLayout" Target="../slideLayouts/slideLayout251.xml"/><Relationship Id="rId48" Type="http://schemas.openxmlformats.org/officeDocument/2006/relationships/slideLayout" Target="../slideLayouts/slideLayout256.xml"/><Relationship Id="rId56" Type="http://schemas.openxmlformats.org/officeDocument/2006/relationships/slideLayout" Target="../slideLayouts/slideLayout264.xml"/><Relationship Id="rId64" Type="http://schemas.openxmlformats.org/officeDocument/2006/relationships/slideLayout" Target="../slideLayouts/slideLayout272.xml"/><Relationship Id="rId69" Type="http://schemas.openxmlformats.org/officeDocument/2006/relationships/tags" Target="../tags/tag303.xml"/><Relationship Id="rId8" Type="http://schemas.openxmlformats.org/officeDocument/2006/relationships/slideLayout" Target="../slideLayouts/slideLayout216.xml"/><Relationship Id="rId51" Type="http://schemas.openxmlformats.org/officeDocument/2006/relationships/slideLayout" Target="../slideLayouts/slideLayout259.xml"/><Relationship Id="rId3" Type="http://schemas.openxmlformats.org/officeDocument/2006/relationships/slideLayout" Target="../slideLayouts/slideLayout211.xml"/><Relationship Id="rId12" Type="http://schemas.openxmlformats.org/officeDocument/2006/relationships/slideLayout" Target="../slideLayouts/slideLayout220.xml"/><Relationship Id="rId17" Type="http://schemas.openxmlformats.org/officeDocument/2006/relationships/slideLayout" Target="../slideLayouts/slideLayout225.xml"/><Relationship Id="rId25" Type="http://schemas.openxmlformats.org/officeDocument/2006/relationships/slideLayout" Target="../slideLayouts/slideLayout233.xml"/><Relationship Id="rId33" Type="http://schemas.openxmlformats.org/officeDocument/2006/relationships/slideLayout" Target="../slideLayouts/slideLayout241.xml"/><Relationship Id="rId38" Type="http://schemas.openxmlformats.org/officeDocument/2006/relationships/slideLayout" Target="../slideLayouts/slideLayout246.xml"/><Relationship Id="rId46" Type="http://schemas.openxmlformats.org/officeDocument/2006/relationships/slideLayout" Target="../slideLayouts/slideLayout254.xml"/><Relationship Id="rId59" Type="http://schemas.openxmlformats.org/officeDocument/2006/relationships/slideLayout" Target="../slideLayouts/slideLayout267.xml"/><Relationship Id="rId67" Type="http://schemas.openxmlformats.org/officeDocument/2006/relationships/theme" Target="../theme/theme5.xml"/><Relationship Id="rId20" Type="http://schemas.openxmlformats.org/officeDocument/2006/relationships/slideLayout" Target="../slideLayouts/slideLayout228.xml"/><Relationship Id="rId41" Type="http://schemas.openxmlformats.org/officeDocument/2006/relationships/slideLayout" Target="../slideLayouts/slideLayout249.xml"/><Relationship Id="rId54" Type="http://schemas.openxmlformats.org/officeDocument/2006/relationships/slideLayout" Target="../slideLayouts/slideLayout262.xml"/><Relationship Id="rId62" Type="http://schemas.openxmlformats.org/officeDocument/2006/relationships/slideLayout" Target="../slideLayouts/slideLayout270.xml"/><Relationship Id="rId70" Type="http://schemas.openxmlformats.org/officeDocument/2006/relationships/oleObject" Target="../embeddings/oleObject88.bin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7.xml"/><Relationship Id="rId18" Type="http://schemas.openxmlformats.org/officeDocument/2006/relationships/slideLayout" Target="../slideLayouts/slideLayout292.xml"/><Relationship Id="rId26" Type="http://schemas.openxmlformats.org/officeDocument/2006/relationships/slideLayout" Target="../slideLayouts/slideLayout300.xml"/><Relationship Id="rId39" Type="http://schemas.openxmlformats.org/officeDocument/2006/relationships/slideLayout" Target="../slideLayouts/slideLayout313.xml"/><Relationship Id="rId21" Type="http://schemas.openxmlformats.org/officeDocument/2006/relationships/slideLayout" Target="../slideLayouts/slideLayout295.xml"/><Relationship Id="rId34" Type="http://schemas.openxmlformats.org/officeDocument/2006/relationships/slideLayout" Target="../slideLayouts/slideLayout308.xml"/><Relationship Id="rId42" Type="http://schemas.openxmlformats.org/officeDocument/2006/relationships/slideLayout" Target="../slideLayouts/slideLayout316.xml"/><Relationship Id="rId47" Type="http://schemas.openxmlformats.org/officeDocument/2006/relationships/slideLayout" Target="../slideLayouts/slideLayout321.xml"/><Relationship Id="rId50" Type="http://schemas.openxmlformats.org/officeDocument/2006/relationships/slideLayout" Target="../slideLayouts/slideLayout324.xml"/><Relationship Id="rId55" Type="http://schemas.openxmlformats.org/officeDocument/2006/relationships/slideLayout" Target="../slideLayouts/slideLayout329.xml"/><Relationship Id="rId63" Type="http://schemas.openxmlformats.org/officeDocument/2006/relationships/slideLayout" Target="../slideLayouts/slideLayout337.xml"/><Relationship Id="rId68" Type="http://schemas.openxmlformats.org/officeDocument/2006/relationships/vmlDrawing" Target="../drawings/vmlDrawing105.vml"/><Relationship Id="rId7" Type="http://schemas.openxmlformats.org/officeDocument/2006/relationships/slideLayout" Target="../slideLayouts/slideLayout281.xml"/><Relationship Id="rId71" Type="http://schemas.openxmlformats.org/officeDocument/2006/relationships/image" Target="../media/image2.emf"/><Relationship Id="rId2" Type="http://schemas.openxmlformats.org/officeDocument/2006/relationships/slideLayout" Target="../slideLayouts/slideLayout276.xml"/><Relationship Id="rId16" Type="http://schemas.openxmlformats.org/officeDocument/2006/relationships/slideLayout" Target="../slideLayouts/slideLayout290.xml"/><Relationship Id="rId29" Type="http://schemas.openxmlformats.org/officeDocument/2006/relationships/slideLayout" Target="../slideLayouts/slideLayout303.xml"/><Relationship Id="rId1" Type="http://schemas.openxmlformats.org/officeDocument/2006/relationships/slideLayout" Target="../slideLayouts/slideLayout275.xml"/><Relationship Id="rId6" Type="http://schemas.openxmlformats.org/officeDocument/2006/relationships/slideLayout" Target="../slideLayouts/slideLayout280.xml"/><Relationship Id="rId11" Type="http://schemas.openxmlformats.org/officeDocument/2006/relationships/slideLayout" Target="../slideLayouts/slideLayout285.xml"/><Relationship Id="rId24" Type="http://schemas.openxmlformats.org/officeDocument/2006/relationships/slideLayout" Target="../slideLayouts/slideLayout298.xml"/><Relationship Id="rId32" Type="http://schemas.openxmlformats.org/officeDocument/2006/relationships/slideLayout" Target="../slideLayouts/slideLayout306.xml"/><Relationship Id="rId37" Type="http://schemas.openxmlformats.org/officeDocument/2006/relationships/slideLayout" Target="../slideLayouts/slideLayout311.xml"/><Relationship Id="rId40" Type="http://schemas.openxmlformats.org/officeDocument/2006/relationships/slideLayout" Target="../slideLayouts/slideLayout314.xml"/><Relationship Id="rId45" Type="http://schemas.openxmlformats.org/officeDocument/2006/relationships/slideLayout" Target="../slideLayouts/slideLayout319.xml"/><Relationship Id="rId53" Type="http://schemas.openxmlformats.org/officeDocument/2006/relationships/slideLayout" Target="../slideLayouts/slideLayout327.xml"/><Relationship Id="rId58" Type="http://schemas.openxmlformats.org/officeDocument/2006/relationships/slideLayout" Target="../slideLayouts/slideLayout332.xml"/><Relationship Id="rId66" Type="http://schemas.openxmlformats.org/officeDocument/2006/relationships/slideLayout" Target="../slideLayouts/slideLayout340.xml"/><Relationship Id="rId5" Type="http://schemas.openxmlformats.org/officeDocument/2006/relationships/slideLayout" Target="../slideLayouts/slideLayout279.xml"/><Relationship Id="rId15" Type="http://schemas.openxmlformats.org/officeDocument/2006/relationships/slideLayout" Target="../slideLayouts/slideLayout289.xml"/><Relationship Id="rId23" Type="http://schemas.openxmlformats.org/officeDocument/2006/relationships/slideLayout" Target="../slideLayouts/slideLayout297.xml"/><Relationship Id="rId28" Type="http://schemas.openxmlformats.org/officeDocument/2006/relationships/slideLayout" Target="../slideLayouts/slideLayout302.xml"/><Relationship Id="rId36" Type="http://schemas.openxmlformats.org/officeDocument/2006/relationships/slideLayout" Target="../slideLayouts/slideLayout310.xml"/><Relationship Id="rId49" Type="http://schemas.openxmlformats.org/officeDocument/2006/relationships/slideLayout" Target="../slideLayouts/slideLayout323.xml"/><Relationship Id="rId57" Type="http://schemas.openxmlformats.org/officeDocument/2006/relationships/slideLayout" Target="../slideLayouts/slideLayout331.xml"/><Relationship Id="rId61" Type="http://schemas.openxmlformats.org/officeDocument/2006/relationships/slideLayout" Target="../slideLayouts/slideLayout335.xml"/><Relationship Id="rId10" Type="http://schemas.openxmlformats.org/officeDocument/2006/relationships/slideLayout" Target="../slideLayouts/slideLayout284.xml"/><Relationship Id="rId19" Type="http://schemas.openxmlformats.org/officeDocument/2006/relationships/slideLayout" Target="../slideLayouts/slideLayout293.xml"/><Relationship Id="rId31" Type="http://schemas.openxmlformats.org/officeDocument/2006/relationships/slideLayout" Target="../slideLayouts/slideLayout305.xml"/><Relationship Id="rId44" Type="http://schemas.openxmlformats.org/officeDocument/2006/relationships/slideLayout" Target="../slideLayouts/slideLayout318.xml"/><Relationship Id="rId52" Type="http://schemas.openxmlformats.org/officeDocument/2006/relationships/slideLayout" Target="../slideLayouts/slideLayout326.xml"/><Relationship Id="rId60" Type="http://schemas.openxmlformats.org/officeDocument/2006/relationships/slideLayout" Target="../slideLayouts/slideLayout334.xml"/><Relationship Id="rId65" Type="http://schemas.openxmlformats.org/officeDocument/2006/relationships/slideLayout" Target="../slideLayouts/slideLayout339.xml"/><Relationship Id="rId4" Type="http://schemas.openxmlformats.org/officeDocument/2006/relationships/slideLayout" Target="../slideLayouts/slideLayout278.xml"/><Relationship Id="rId9" Type="http://schemas.openxmlformats.org/officeDocument/2006/relationships/slideLayout" Target="../slideLayouts/slideLayout283.xml"/><Relationship Id="rId14" Type="http://schemas.openxmlformats.org/officeDocument/2006/relationships/slideLayout" Target="../slideLayouts/slideLayout288.xml"/><Relationship Id="rId22" Type="http://schemas.openxmlformats.org/officeDocument/2006/relationships/slideLayout" Target="../slideLayouts/slideLayout296.xml"/><Relationship Id="rId27" Type="http://schemas.openxmlformats.org/officeDocument/2006/relationships/slideLayout" Target="../slideLayouts/slideLayout301.xml"/><Relationship Id="rId30" Type="http://schemas.openxmlformats.org/officeDocument/2006/relationships/slideLayout" Target="../slideLayouts/slideLayout304.xml"/><Relationship Id="rId35" Type="http://schemas.openxmlformats.org/officeDocument/2006/relationships/slideLayout" Target="../slideLayouts/slideLayout309.xml"/><Relationship Id="rId43" Type="http://schemas.openxmlformats.org/officeDocument/2006/relationships/slideLayout" Target="../slideLayouts/slideLayout317.xml"/><Relationship Id="rId48" Type="http://schemas.openxmlformats.org/officeDocument/2006/relationships/slideLayout" Target="../slideLayouts/slideLayout322.xml"/><Relationship Id="rId56" Type="http://schemas.openxmlformats.org/officeDocument/2006/relationships/slideLayout" Target="../slideLayouts/slideLayout330.xml"/><Relationship Id="rId64" Type="http://schemas.openxmlformats.org/officeDocument/2006/relationships/slideLayout" Target="../slideLayouts/slideLayout338.xml"/><Relationship Id="rId69" Type="http://schemas.openxmlformats.org/officeDocument/2006/relationships/tags" Target="../tags/tag403.xml"/><Relationship Id="rId8" Type="http://schemas.openxmlformats.org/officeDocument/2006/relationships/slideLayout" Target="../slideLayouts/slideLayout282.xml"/><Relationship Id="rId51" Type="http://schemas.openxmlformats.org/officeDocument/2006/relationships/slideLayout" Target="../slideLayouts/slideLayout325.xml"/><Relationship Id="rId3" Type="http://schemas.openxmlformats.org/officeDocument/2006/relationships/slideLayout" Target="../slideLayouts/slideLayout277.xml"/><Relationship Id="rId12" Type="http://schemas.openxmlformats.org/officeDocument/2006/relationships/slideLayout" Target="../slideLayouts/slideLayout286.xml"/><Relationship Id="rId17" Type="http://schemas.openxmlformats.org/officeDocument/2006/relationships/slideLayout" Target="../slideLayouts/slideLayout291.xml"/><Relationship Id="rId25" Type="http://schemas.openxmlformats.org/officeDocument/2006/relationships/slideLayout" Target="../slideLayouts/slideLayout299.xml"/><Relationship Id="rId33" Type="http://schemas.openxmlformats.org/officeDocument/2006/relationships/slideLayout" Target="../slideLayouts/slideLayout307.xml"/><Relationship Id="rId38" Type="http://schemas.openxmlformats.org/officeDocument/2006/relationships/slideLayout" Target="../slideLayouts/slideLayout312.xml"/><Relationship Id="rId46" Type="http://schemas.openxmlformats.org/officeDocument/2006/relationships/slideLayout" Target="../slideLayouts/slideLayout320.xml"/><Relationship Id="rId59" Type="http://schemas.openxmlformats.org/officeDocument/2006/relationships/slideLayout" Target="../slideLayouts/slideLayout333.xml"/><Relationship Id="rId67" Type="http://schemas.openxmlformats.org/officeDocument/2006/relationships/theme" Target="../theme/theme6.xml"/><Relationship Id="rId20" Type="http://schemas.openxmlformats.org/officeDocument/2006/relationships/slideLayout" Target="../slideLayouts/slideLayout294.xml"/><Relationship Id="rId41" Type="http://schemas.openxmlformats.org/officeDocument/2006/relationships/slideLayout" Target="../slideLayouts/slideLayout315.xml"/><Relationship Id="rId54" Type="http://schemas.openxmlformats.org/officeDocument/2006/relationships/slideLayout" Target="../slideLayouts/slideLayout328.xml"/><Relationship Id="rId62" Type="http://schemas.openxmlformats.org/officeDocument/2006/relationships/slideLayout" Target="../slideLayouts/slideLayout336.xml"/><Relationship Id="rId70" Type="http://schemas.openxmlformats.org/officeDocument/2006/relationships/oleObject" Target="../embeddings/oleObject11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Объект 2" hidden="1">
            <a:extLst>
              <a:ext uri="{FF2B5EF4-FFF2-40B4-BE49-F238E27FC236}">
                <a16:creationId xmlns:a16="http://schemas.microsoft.com/office/drawing/2014/main" id="{B20BAC12-1BE5-495D-A083-17BB8EE346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" name="Слайд think-cell" r:id="rId16" imgW="383" imgH="384" progId="TCLayout.ActiveDocument.1">
                  <p:embed/>
                </p:oleObj>
              </mc:Choice>
              <mc:Fallback>
                <p:oleObj name="Слайд think-cell" r:id="rId16" imgW="383" imgH="384" progId="TCLayout.ActiveDocument.1">
                  <p:embed/>
                  <p:pic>
                    <p:nvPicPr>
                      <p:cNvPr id="0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A1C768F2-655D-4273-A50C-B99C8E7B231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28" name="Заголовок 1">
            <a:extLst>
              <a:ext uri="{FF2B5EF4-FFF2-40B4-BE49-F238E27FC236}">
                <a16:creationId xmlns:a16="http://schemas.microsoft.com/office/drawing/2014/main" id="{799604AB-CC9A-4D5A-B733-A37BE914892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заголовка</a:t>
            </a:r>
            <a:endParaRPr lang="en-US" altLang="en-US"/>
          </a:p>
        </p:txBody>
      </p:sp>
      <p:sp>
        <p:nvSpPr>
          <p:cNvPr id="1029" name="Текст 2">
            <a:extLst>
              <a:ext uri="{FF2B5EF4-FFF2-40B4-BE49-F238E27FC236}">
                <a16:creationId xmlns:a16="http://schemas.microsoft.com/office/drawing/2014/main" id="{52F8D45E-116D-4625-8A14-E1EC2F457B0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текста</a:t>
            </a:r>
          </a:p>
          <a:p>
            <a:pPr lvl="1"/>
            <a:r>
              <a:rPr lang="ru-RU" altLang="en-US"/>
              <a:t>Второй уровень</a:t>
            </a:r>
          </a:p>
          <a:p>
            <a:pPr lvl="2"/>
            <a:r>
              <a:rPr lang="ru-RU" altLang="en-US"/>
              <a:t>Третий уровень</a:t>
            </a:r>
          </a:p>
          <a:p>
            <a:pPr lvl="3"/>
            <a:r>
              <a:rPr lang="ru-RU" altLang="en-US"/>
              <a:t>Четвертый уровень</a:t>
            </a:r>
          </a:p>
          <a:p>
            <a:pPr lvl="4"/>
            <a:r>
              <a:rPr lang="ru-RU" altLang="en-US"/>
              <a:t>Пятый уровень</a:t>
            </a:r>
            <a:endParaRPr lang="en-US" alt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98E6049-5D9A-4D94-8B54-745A664A32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97FB44A9-17E7-423A-9656-EBCB8C1EB896}" type="datetime1">
              <a:rPr lang="en-US" smtClean="0"/>
              <a:t>5/25/2021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4B75052-2D82-4864-A854-136C1172FD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9E77648-8EC2-4C14-B12E-94D6003D0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987CCDEC-BE5A-477B-8547-9F9DA2A7310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C37E21AF-9E98-4E23-B88B-7E7ADC74F9C5}"/>
              </a:ext>
            </a:extLst>
          </p:cNvPr>
          <p:cNvSpPr txBox="1">
            <a:spLocks/>
          </p:cNvSpPr>
          <p:nvPr userDrawn="1"/>
        </p:nvSpPr>
        <p:spPr>
          <a:xfrm>
            <a:off x="9448800" y="6592888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1B027290-454C-46FC-B5E5-3F61FABBB863}" type="slidenum">
              <a:rPr lang="en-US" altLang="en-US" sz="105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5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3796" r:id="rId1"/>
    <p:sldLayoutId id="2147503797" r:id="rId2"/>
    <p:sldLayoutId id="2147503798" r:id="rId3"/>
    <p:sldLayoutId id="2147503799" r:id="rId4"/>
    <p:sldLayoutId id="2147503800" r:id="rId5"/>
    <p:sldLayoutId id="2147503801" r:id="rId6"/>
    <p:sldLayoutId id="2147503802" r:id="rId7"/>
    <p:sldLayoutId id="2147503803" r:id="rId8"/>
    <p:sldLayoutId id="2147503804" r:id="rId9"/>
    <p:sldLayoutId id="2147503805" r:id="rId10"/>
    <p:sldLayoutId id="2147503806" r:id="rId1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>
            <a:extLst>
              <a:ext uri="{FF2B5EF4-FFF2-40B4-BE49-F238E27FC236}">
                <a16:creationId xmlns:a16="http://schemas.microsoft.com/office/drawing/2014/main" id="{76B83A22-D978-4DE9-9C6C-30BC75F040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" name="Слайд think-cell" r:id="rId71" imgW="360" imgH="360" progId="TCLayout.ActiveDocument.1">
                  <p:embed/>
                </p:oleObj>
              </mc:Choice>
              <mc:Fallback>
                <p:oleObj name="Слайд think-cell" r:id="rId71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Page">
            <a:extLst>
              <a:ext uri="{FF2B5EF4-FFF2-40B4-BE49-F238E27FC236}">
                <a16:creationId xmlns:a16="http://schemas.microsoft.com/office/drawing/2014/main" id="{747B3AFE-5BE6-47E9-A0F0-3F7097FF449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0B1B476-F49A-4235-8585-275A69501C1A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69FC7AE0-76C4-48F6-BED7-25669A747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25C5EB5-EDC9-4135-B859-655F8BCC86AA}" type="datetime1">
              <a:rPr lang="en-US" smtClean="0"/>
              <a:t>5/25/2021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332A5E-6E23-42F5-B2D4-F81846C69A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4700" y="2081213"/>
            <a:ext cx="10642600" cy="3786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2054" name="Title Placeholder 1">
            <a:extLst>
              <a:ext uri="{FF2B5EF4-FFF2-40B4-BE49-F238E27FC236}">
                <a16:creationId xmlns:a16="http://schemas.microsoft.com/office/drawing/2014/main" id="{9D0B4AC9-BCAF-492A-A305-F2DF5EE7D36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774700" y="622300"/>
            <a:ext cx="106426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>
                <a:sym typeface="Trebuchet MS" panose="020B0603020202020204" pitchFamily="34" charset="0"/>
              </a:rPr>
              <a:t>Click to add tit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3807" r:id="rId1"/>
    <p:sldLayoutId id="2147503808" r:id="rId2"/>
    <p:sldLayoutId id="2147503809" r:id="rId3"/>
    <p:sldLayoutId id="2147503810" r:id="rId4"/>
    <p:sldLayoutId id="2147503811" r:id="rId5"/>
    <p:sldLayoutId id="2147503812" r:id="rId6"/>
    <p:sldLayoutId id="2147503813" r:id="rId7"/>
    <p:sldLayoutId id="2147503814" r:id="rId8"/>
    <p:sldLayoutId id="2147503815" r:id="rId9"/>
    <p:sldLayoutId id="2147503816" r:id="rId10"/>
    <p:sldLayoutId id="2147503817" r:id="rId11"/>
    <p:sldLayoutId id="2147503818" r:id="rId12"/>
    <p:sldLayoutId id="2147503819" r:id="rId13"/>
    <p:sldLayoutId id="2147503820" r:id="rId14"/>
    <p:sldLayoutId id="2147503821" r:id="rId15"/>
    <p:sldLayoutId id="2147503822" r:id="rId16"/>
    <p:sldLayoutId id="2147503823" r:id="rId17"/>
    <p:sldLayoutId id="2147503824" r:id="rId18"/>
    <p:sldLayoutId id="2147503825" r:id="rId19"/>
    <p:sldLayoutId id="2147503826" r:id="rId20"/>
    <p:sldLayoutId id="2147503827" r:id="rId21"/>
    <p:sldLayoutId id="2147503828" r:id="rId22"/>
    <p:sldLayoutId id="2147503829" r:id="rId23"/>
    <p:sldLayoutId id="2147503830" r:id="rId24"/>
    <p:sldLayoutId id="2147503831" r:id="rId25"/>
    <p:sldLayoutId id="2147503832" r:id="rId26"/>
    <p:sldLayoutId id="2147503833" r:id="rId27"/>
    <p:sldLayoutId id="2147503834" r:id="rId28"/>
    <p:sldLayoutId id="2147503835" r:id="rId29"/>
    <p:sldLayoutId id="2147503836" r:id="rId30"/>
    <p:sldLayoutId id="2147503837" r:id="rId31"/>
    <p:sldLayoutId id="2147503838" r:id="rId32"/>
    <p:sldLayoutId id="2147503839" r:id="rId33"/>
    <p:sldLayoutId id="2147503840" r:id="rId34"/>
    <p:sldLayoutId id="2147503841" r:id="rId35"/>
    <p:sldLayoutId id="2147503842" r:id="rId36"/>
    <p:sldLayoutId id="2147503843" r:id="rId37"/>
    <p:sldLayoutId id="2147503844" r:id="rId38"/>
    <p:sldLayoutId id="2147503845" r:id="rId39"/>
    <p:sldLayoutId id="2147503846" r:id="rId40"/>
    <p:sldLayoutId id="2147503847" r:id="rId41"/>
    <p:sldLayoutId id="2147503848" r:id="rId42"/>
    <p:sldLayoutId id="2147503849" r:id="rId43"/>
    <p:sldLayoutId id="2147503850" r:id="rId44"/>
    <p:sldLayoutId id="2147503851" r:id="rId45"/>
    <p:sldLayoutId id="2147503852" r:id="rId46"/>
    <p:sldLayoutId id="2147503853" r:id="rId47"/>
    <p:sldLayoutId id="2147503854" r:id="rId48"/>
    <p:sldLayoutId id="2147503855" r:id="rId49"/>
    <p:sldLayoutId id="2147503856" r:id="rId50"/>
    <p:sldLayoutId id="2147503857" r:id="rId51"/>
    <p:sldLayoutId id="2147503858" r:id="rId52"/>
    <p:sldLayoutId id="2147503859" r:id="rId53"/>
    <p:sldLayoutId id="2147503860" r:id="rId54"/>
    <p:sldLayoutId id="2147503861" r:id="rId55"/>
    <p:sldLayoutId id="2147503862" r:id="rId56"/>
    <p:sldLayoutId id="2147503863" r:id="rId57"/>
    <p:sldLayoutId id="2147503864" r:id="rId58"/>
    <p:sldLayoutId id="2147503865" r:id="rId59"/>
    <p:sldLayoutId id="2147503866" r:id="rId60"/>
    <p:sldLayoutId id="2147503867" r:id="rId61"/>
    <p:sldLayoutId id="2147503868" r:id="rId62"/>
    <p:sldLayoutId id="2147503869" r:id="rId63"/>
    <p:sldLayoutId id="2147503870" r:id="rId64"/>
    <p:sldLayoutId id="2147503871" r:id="rId65"/>
    <p:sldLayoutId id="2147503872" r:id="rId66"/>
    <p:sldLayoutId id="2147503873" r:id="rId67"/>
  </p:sldLayoutIdLst>
  <p:transition>
    <p:fade/>
  </p:transition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163" indent="-17145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75" indent="-16510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algn="l" rtl="0" eaLnBrk="0" fontAlgn="base" hangingPunct="0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algn="l" rtl="0" eaLnBrk="0" fontAlgn="base" hangingPunct="0">
        <a:spcBef>
          <a:spcPct val="0"/>
        </a:spcBef>
        <a:spcAft>
          <a:spcPts val="300"/>
        </a:spcAft>
        <a:buFont typeface="Arial" panose="020B0604020202020204" pitchFamily="34" charset="0"/>
        <a:buChar char="​"/>
        <a:defRPr lang="en-US" sz="1600" b="1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1" hidden="1">
            <a:extLst>
              <a:ext uri="{FF2B5EF4-FFF2-40B4-BE49-F238E27FC236}">
                <a16:creationId xmlns:a16="http://schemas.microsoft.com/office/drawing/2014/main" id="{E276DECC-03AD-4F13-A84D-FCAB963F07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29" name="Слайд think-cell" r:id="rId69" imgW="360" imgH="360" progId="TCLayout.ActiveDocument.1">
                  <p:embed/>
                </p:oleObj>
              </mc:Choice>
              <mc:Fallback>
                <p:oleObj name="Слайд think-cell" r:id="rId69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Page">
            <a:extLst>
              <a:ext uri="{FF2B5EF4-FFF2-40B4-BE49-F238E27FC236}">
                <a16:creationId xmlns:a16="http://schemas.microsoft.com/office/drawing/2014/main" id="{FBCF9148-A29E-4192-B8C8-CBD0CBABE8F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28FC951D-0039-4B95-8F24-C6715ADADEC9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BF6712CC-1921-4F06-BB2B-D4AB84F199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064397AF-A46B-4715-B51B-9AB435FC7341}" type="datetime1">
              <a:rPr lang="en-US" smtClean="0"/>
              <a:t>5/25/2021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B6952D-E3D8-4FE0-A2C5-EB964348E6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4700" y="2081213"/>
            <a:ext cx="10642600" cy="3786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3078" name="Title Placeholder 1">
            <a:extLst>
              <a:ext uri="{FF2B5EF4-FFF2-40B4-BE49-F238E27FC236}">
                <a16:creationId xmlns:a16="http://schemas.microsoft.com/office/drawing/2014/main" id="{7CFFB3D7-EDAA-464C-A901-20E3D052649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774700" y="622300"/>
            <a:ext cx="106426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>
                <a:sym typeface="Trebuchet MS" panose="020B0603020202020204" pitchFamily="34" charset="0"/>
              </a:rPr>
              <a:t>Click to add tit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3874" r:id="rId1"/>
    <p:sldLayoutId id="2147503875" r:id="rId2"/>
    <p:sldLayoutId id="2147503876" r:id="rId3"/>
    <p:sldLayoutId id="2147503877" r:id="rId4"/>
    <p:sldLayoutId id="2147503878" r:id="rId5"/>
    <p:sldLayoutId id="2147503879" r:id="rId6"/>
    <p:sldLayoutId id="2147503880" r:id="rId7"/>
    <p:sldLayoutId id="2147503881" r:id="rId8"/>
    <p:sldLayoutId id="2147503882" r:id="rId9"/>
    <p:sldLayoutId id="2147503883" r:id="rId10"/>
    <p:sldLayoutId id="2147503884" r:id="rId11"/>
    <p:sldLayoutId id="2147503885" r:id="rId12"/>
    <p:sldLayoutId id="2147503886" r:id="rId13"/>
    <p:sldLayoutId id="2147503887" r:id="rId14"/>
    <p:sldLayoutId id="2147503888" r:id="rId15"/>
    <p:sldLayoutId id="2147503889" r:id="rId16"/>
    <p:sldLayoutId id="2147503890" r:id="rId17"/>
    <p:sldLayoutId id="2147503891" r:id="rId18"/>
    <p:sldLayoutId id="2147503892" r:id="rId19"/>
    <p:sldLayoutId id="2147503893" r:id="rId20"/>
    <p:sldLayoutId id="2147503894" r:id="rId21"/>
    <p:sldLayoutId id="2147503895" r:id="rId22"/>
    <p:sldLayoutId id="2147503896" r:id="rId23"/>
    <p:sldLayoutId id="2147503897" r:id="rId24"/>
    <p:sldLayoutId id="2147503898" r:id="rId25"/>
    <p:sldLayoutId id="2147503899" r:id="rId26"/>
    <p:sldLayoutId id="2147503900" r:id="rId27"/>
    <p:sldLayoutId id="2147503901" r:id="rId28"/>
    <p:sldLayoutId id="2147503902" r:id="rId29"/>
    <p:sldLayoutId id="2147503903" r:id="rId30"/>
    <p:sldLayoutId id="2147503904" r:id="rId31"/>
    <p:sldLayoutId id="2147503905" r:id="rId32"/>
    <p:sldLayoutId id="2147503906" r:id="rId33"/>
    <p:sldLayoutId id="2147503907" r:id="rId34"/>
    <p:sldLayoutId id="2147503908" r:id="rId35"/>
    <p:sldLayoutId id="2147503909" r:id="rId36"/>
    <p:sldLayoutId id="2147503910" r:id="rId37"/>
    <p:sldLayoutId id="2147503911" r:id="rId38"/>
    <p:sldLayoutId id="2147503912" r:id="rId39"/>
    <p:sldLayoutId id="2147503913" r:id="rId40"/>
    <p:sldLayoutId id="2147503914" r:id="rId41"/>
    <p:sldLayoutId id="2147503915" r:id="rId42"/>
    <p:sldLayoutId id="2147503916" r:id="rId43"/>
    <p:sldLayoutId id="2147503917" r:id="rId44"/>
    <p:sldLayoutId id="2147503918" r:id="rId45"/>
    <p:sldLayoutId id="2147503919" r:id="rId46"/>
    <p:sldLayoutId id="2147503920" r:id="rId47"/>
    <p:sldLayoutId id="2147503921" r:id="rId48"/>
    <p:sldLayoutId id="2147503922" r:id="rId49"/>
    <p:sldLayoutId id="2147503923" r:id="rId50"/>
    <p:sldLayoutId id="2147503924" r:id="rId51"/>
    <p:sldLayoutId id="2147503925" r:id="rId52"/>
    <p:sldLayoutId id="2147503926" r:id="rId53"/>
    <p:sldLayoutId id="2147503927" r:id="rId54"/>
    <p:sldLayoutId id="2147503928" r:id="rId55"/>
    <p:sldLayoutId id="2147503929" r:id="rId56"/>
    <p:sldLayoutId id="2147503930" r:id="rId57"/>
    <p:sldLayoutId id="2147503931" r:id="rId58"/>
    <p:sldLayoutId id="2147503932" r:id="rId59"/>
    <p:sldLayoutId id="2147503933" r:id="rId60"/>
    <p:sldLayoutId id="2147503934" r:id="rId61"/>
    <p:sldLayoutId id="2147503935" r:id="rId62"/>
    <p:sldLayoutId id="2147503936" r:id="rId63"/>
    <p:sldLayoutId id="2147503937" r:id="rId64"/>
    <p:sldLayoutId id="2147503938" r:id="rId65"/>
  </p:sldLayoutIdLst>
  <p:transition>
    <p:fade/>
  </p:transition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163" indent="-17145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75" indent="-16510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algn="l" rtl="0" eaLnBrk="0" fontAlgn="base" hangingPunct="0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algn="l" rtl="0" eaLnBrk="0" fontAlgn="base" hangingPunct="0">
        <a:spcBef>
          <a:spcPct val="0"/>
        </a:spcBef>
        <a:spcAft>
          <a:spcPts val="300"/>
        </a:spcAft>
        <a:buFont typeface="Arial" panose="020B0604020202020204" pitchFamily="34" charset="0"/>
        <a:buChar char="​"/>
        <a:defRPr lang="en-US" sz="1600" b="1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1" hidden="1">
            <a:extLst>
              <a:ext uri="{FF2B5EF4-FFF2-40B4-BE49-F238E27FC236}">
                <a16:creationId xmlns:a16="http://schemas.microsoft.com/office/drawing/2014/main" id="{99FA68A3-668E-4A43-A10D-C9FACCE838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29" name="Слайд think-cell" r:id="rId69" imgW="360" imgH="360" progId="TCLayout.ActiveDocument.1">
                  <p:embed/>
                </p:oleObj>
              </mc:Choice>
              <mc:Fallback>
                <p:oleObj name="Слайд think-cell" r:id="rId69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Page">
            <a:extLst>
              <a:ext uri="{FF2B5EF4-FFF2-40B4-BE49-F238E27FC236}">
                <a16:creationId xmlns:a16="http://schemas.microsoft.com/office/drawing/2014/main" id="{7F014440-23DC-44F8-8066-27E268A71A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375382A8-BFBC-4603-938E-FE4B9B65C4AE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BE7452B-767E-456A-BFD0-E43CCD9B0B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9CFBD37-FBEE-49A8-A315-6094FDF0902F}" type="datetime1">
              <a:rPr lang="en-US" smtClean="0"/>
              <a:t>5/25/2021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42CB13-EA39-4460-87D4-990D19D1F3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4700" y="2081213"/>
            <a:ext cx="10642600" cy="3786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4102" name="Title Placeholder 1">
            <a:extLst>
              <a:ext uri="{FF2B5EF4-FFF2-40B4-BE49-F238E27FC236}">
                <a16:creationId xmlns:a16="http://schemas.microsoft.com/office/drawing/2014/main" id="{280277CB-1E7C-4CA4-ABC1-D06CD52CB73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774700" y="622300"/>
            <a:ext cx="106426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>
                <a:sym typeface="Trebuchet MS" panose="020B0603020202020204" pitchFamily="34" charset="0"/>
              </a:rPr>
              <a:t>Click to add tit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3939" r:id="rId1"/>
    <p:sldLayoutId id="2147503940" r:id="rId2"/>
    <p:sldLayoutId id="2147503941" r:id="rId3"/>
    <p:sldLayoutId id="2147503942" r:id="rId4"/>
    <p:sldLayoutId id="2147503943" r:id="rId5"/>
    <p:sldLayoutId id="2147503944" r:id="rId6"/>
    <p:sldLayoutId id="2147503945" r:id="rId7"/>
    <p:sldLayoutId id="2147503946" r:id="rId8"/>
    <p:sldLayoutId id="2147503947" r:id="rId9"/>
    <p:sldLayoutId id="2147503948" r:id="rId10"/>
    <p:sldLayoutId id="2147503949" r:id="rId11"/>
    <p:sldLayoutId id="2147503950" r:id="rId12"/>
    <p:sldLayoutId id="2147503951" r:id="rId13"/>
    <p:sldLayoutId id="2147503952" r:id="rId14"/>
    <p:sldLayoutId id="2147503953" r:id="rId15"/>
    <p:sldLayoutId id="2147503954" r:id="rId16"/>
    <p:sldLayoutId id="2147503955" r:id="rId17"/>
    <p:sldLayoutId id="2147503956" r:id="rId18"/>
    <p:sldLayoutId id="2147503957" r:id="rId19"/>
    <p:sldLayoutId id="2147503958" r:id="rId20"/>
    <p:sldLayoutId id="2147503959" r:id="rId21"/>
    <p:sldLayoutId id="2147503960" r:id="rId22"/>
    <p:sldLayoutId id="2147503961" r:id="rId23"/>
    <p:sldLayoutId id="2147503962" r:id="rId24"/>
    <p:sldLayoutId id="2147503963" r:id="rId25"/>
    <p:sldLayoutId id="2147503964" r:id="rId26"/>
    <p:sldLayoutId id="2147503965" r:id="rId27"/>
    <p:sldLayoutId id="2147503966" r:id="rId28"/>
    <p:sldLayoutId id="2147503967" r:id="rId29"/>
    <p:sldLayoutId id="2147503968" r:id="rId30"/>
    <p:sldLayoutId id="2147503969" r:id="rId31"/>
    <p:sldLayoutId id="2147503970" r:id="rId32"/>
    <p:sldLayoutId id="2147503971" r:id="rId33"/>
    <p:sldLayoutId id="2147503972" r:id="rId34"/>
    <p:sldLayoutId id="2147503973" r:id="rId35"/>
    <p:sldLayoutId id="2147503974" r:id="rId36"/>
    <p:sldLayoutId id="2147503975" r:id="rId37"/>
    <p:sldLayoutId id="2147503976" r:id="rId38"/>
    <p:sldLayoutId id="2147503977" r:id="rId39"/>
    <p:sldLayoutId id="2147503978" r:id="rId40"/>
    <p:sldLayoutId id="2147503979" r:id="rId41"/>
    <p:sldLayoutId id="2147503980" r:id="rId42"/>
    <p:sldLayoutId id="2147503981" r:id="rId43"/>
    <p:sldLayoutId id="2147503982" r:id="rId44"/>
    <p:sldLayoutId id="2147503983" r:id="rId45"/>
    <p:sldLayoutId id="2147503984" r:id="rId46"/>
    <p:sldLayoutId id="2147503985" r:id="rId47"/>
    <p:sldLayoutId id="2147503986" r:id="rId48"/>
    <p:sldLayoutId id="2147503987" r:id="rId49"/>
    <p:sldLayoutId id="2147503988" r:id="rId50"/>
    <p:sldLayoutId id="2147503989" r:id="rId51"/>
    <p:sldLayoutId id="2147503990" r:id="rId52"/>
    <p:sldLayoutId id="2147503991" r:id="rId53"/>
    <p:sldLayoutId id="2147503992" r:id="rId54"/>
    <p:sldLayoutId id="2147503993" r:id="rId55"/>
    <p:sldLayoutId id="2147503994" r:id="rId56"/>
    <p:sldLayoutId id="2147503995" r:id="rId57"/>
    <p:sldLayoutId id="2147503996" r:id="rId58"/>
    <p:sldLayoutId id="2147503997" r:id="rId59"/>
    <p:sldLayoutId id="2147503998" r:id="rId60"/>
    <p:sldLayoutId id="2147503999" r:id="rId61"/>
    <p:sldLayoutId id="2147504000" r:id="rId62"/>
    <p:sldLayoutId id="2147504001" r:id="rId63"/>
    <p:sldLayoutId id="2147504002" r:id="rId64"/>
    <p:sldLayoutId id="2147504003" r:id="rId65"/>
  </p:sldLayoutIdLst>
  <p:transition>
    <p:fade/>
  </p:transition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163" indent="-17145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75" indent="-16510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algn="l" rtl="0" eaLnBrk="0" fontAlgn="base" hangingPunct="0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algn="l" rtl="0" eaLnBrk="0" fontAlgn="base" hangingPunct="0">
        <a:spcBef>
          <a:spcPct val="0"/>
        </a:spcBef>
        <a:spcAft>
          <a:spcPts val="300"/>
        </a:spcAft>
        <a:buFont typeface="Arial" panose="020B0604020202020204" pitchFamily="34" charset="0"/>
        <a:buChar char="​"/>
        <a:defRPr lang="en-US" sz="1600" b="1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1" hidden="1">
            <a:extLst>
              <a:ext uri="{FF2B5EF4-FFF2-40B4-BE49-F238E27FC236}">
                <a16:creationId xmlns:a16="http://schemas.microsoft.com/office/drawing/2014/main" id="{C9F7D910-B629-4A47-AF96-17097C33D1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29" name="Слайд think-cell" r:id="rId70" imgW="360" imgH="360" progId="TCLayout.ActiveDocument.1">
                  <p:embed/>
                </p:oleObj>
              </mc:Choice>
              <mc:Fallback>
                <p:oleObj name="Слайд think-cell" r:id="rId70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Page">
            <a:extLst>
              <a:ext uri="{FF2B5EF4-FFF2-40B4-BE49-F238E27FC236}">
                <a16:creationId xmlns:a16="http://schemas.microsoft.com/office/drawing/2014/main" id="{72F4818A-AB77-4253-AE2E-F19F08FAFA0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DCC53632-F23B-4F1B-84AE-C116A8CA5A4B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DC12E11-1FF1-45D8-9DF3-7B05BAC514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C6F2945E-2DEE-446E-8C75-BE803C5D46F0}" type="datetime1">
              <a:rPr lang="en-US" smtClean="0"/>
              <a:t>5/25/2021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775182-EC52-49B7-8DBE-B6898501E9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4700" y="2081213"/>
            <a:ext cx="10642600" cy="3786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5126" name="Title Placeholder 1">
            <a:extLst>
              <a:ext uri="{FF2B5EF4-FFF2-40B4-BE49-F238E27FC236}">
                <a16:creationId xmlns:a16="http://schemas.microsoft.com/office/drawing/2014/main" id="{FC3FCF52-0A7E-493A-B38F-CE4B2511680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774700" y="622300"/>
            <a:ext cx="106426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>
                <a:sym typeface="Trebuchet MS" panose="020B0603020202020204" pitchFamily="34" charset="0"/>
              </a:rPr>
              <a:t>Click to add tit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4004" r:id="rId1"/>
    <p:sldLayoutId id="2147504005" r:id="rId2"/>
    <p:sldLayoutId id="2147504006" r:id="rId3"/>
    <p:sldLayoutId id="2147504007" r:id="rId4"/>
    <p:sldLayoutId id="2147504008" r:id="rId5"/>
    <p:sldLayoutId id="2147504009" r:id="rId6"/>
    <p:sldLayoutId id="2147504010" r:id="rId7"/>
    <p:sldLayoutId id="2147504011" r:id="rId8"/>
    <p:sldLayoutId id="2147504012" r:id="rId9"/>
    <p:sldLayoutId id="2147504013" r:id="rId10"/>
    <p:sldLayoutId id="2147504014" r:id="rId11"/>
    <p:sldLayoutId id="2147504015" r:id="rId12"/>
    <p:sldLayoutId id="2147504016" r:id="rId13"/>
    <p:sldLayoutId id="2147504017" r:id="rId14"/>
    <p:sldLayoutId id="2147504018" r:id="rId15"/>
    <p:sldLayoutId id="2147504019" r:id="rId16"/>
    <p:sldLayoutId id="2147504020" r:id="rId17"/>
    <p:sldLayoutId id="2147504021" r:id="rId18"/>
    <p:sldLayoutId id="2147504022" r:id="rId19"/>
    <p:sldLayoutId id="2147504023" r:id="rId20"/>
    <p:sldLayoutId id="2147504024" r:id="rId21"/>
    <p:sldLayoutId id="2147504025" r:id="rId22"/>
    <p:sldLayoutId id="2147504026" r:id="rId23"/>
    <p:sldLayoutId id="2147504027" r:id="rId24"/>
    <p:sldLayoutId id="2147504028" r:id="rId25"/>
    <p:sldLayoutId id="2147504029" r:id="rId26"/>
    <p:sldLayoutId id="2147504030" r:id="rId27"/>
    <p:sldLayoutId id="2147504031" r:id="rId28"/>
    <p:sldLayoutId id="2147504032" r:id="rId29"/>
    <p:sldLayoutId id="2147504033" r:id="rId30"/>
    <p:sldLayoutId id="2147504034" r:id="rId31"/>
    <p:sldLayoutId id="2147504035" r:id="rId32"/>
    <p:sldLayoutId id="2147504036" r:id="rId33"/>
    <p:sldLayoutId id="2147504037" r:id="rId34"/>
    <p:sldLayoutId id="2147504038" r:id="rId35"/>
    <p:sldLayoutId id="2147504039" r:id="rId36"/>
    <p:sldLayoutId id="2147504040" r:id="rId37"/>
    <p:sldLayoutId id="2147504041" r:id="rId38"/>
    <p:sldLayoutId id="2147504042" r:id="rId39"/>
    <p:sldLayoutId id="2147504043" r:id="rId40"/>
    <p:sldLayoutId id="2147504044" r:id="rId41"/>
    <p:sldLayoutId id="2147504045" r:id="rId42"/>
    <p:sldLayoutId id="2147504046" r:id="rId43"/>
    <p:sldLayoutId id="2147504047" r:id="rId44"/>
    <p:sldLayoutId id="2147504048" r:id="rId45"/>
    <p:sldLayoutId id="2147504049" r:id="rId46"/>
    <p:sldLayoutId id="2147504050" r:id="rId47"/>
    <p:sldLayoutId id="2147504051" r:id="rId48"/>
    <p:sldLayoutId id="2147504052" r:id="rId49"/>
    <p:sldLayoutId id="2147504053" r:id="rId50"/>
    <p:sldLayoutId id="2147504054" r:id="rId51"/>
    <p:sldLayoutId id="2147504055" r:id="rId52"/>
    <p:sldLayoutId id="2147504056" r:id="rId53"/>
    <p:sldLayoutId id="2147504057" r:id="rId54"/>
    <p:sldLayoutId id="2147504058" r:id="rId55"/>
    <p:sldLayoutId id="2147504059" r:id="rId56"/>
    <p:sldLayoutId id="2147504060" r:id="rId57"/>
    <p:sldLayoutId id="2147504061" r:id="rId58"/>
    <p:sldLayoutId id="2147504062" r:id="rId59"/>
    <p:sldLayoutId id="2147504063" r:id="rId60"/>
    <p:sldLayoutId id="2147504064" r:id="rId61"/>
    <p:sldLayoutId id="2147504065" r:id="rId62"/>
    <p:sldLayoutId id="2147504066" r:id="rId63"/>
    <p:sldLayoutId id="2147504067" r:id="rId64"/>
    <p:sldLayoutId id="2147504068" r:id="rId65"/>
    <p:sldLayoutId id="2147504069" r:id="rId66"/>
  </p:sldLayoutIdLst>
  <p:transition>
    <p:fade/>
  </p:transition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163" indent="-17145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75" indent="-16510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algn="l" rtl="0" eaLnBrk="0" fontAlgn="base" hangingPunct="0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algn="l" rtl="0" eaLnBrk="0" fontAlgn="base" hangingPunct="0">
        <a:spcBef>
          <a:spcPct val="0"/>
        </a:spcBef>
        <a:spcAft>
          <a:spcPts val="300"/>
        </a:spcAft>
        <a:buFont typeface="Arial" panose="020B0604020202020204" pitchFamily="34" charset="0"/>
        <a:buChar char="​"/>
        <a:defRPr lang="en-US" sz="1600" b="1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1" hidden="1">
            <a:extLst>
              <a:ext uri="{FF2B5EF4-FFF2-40B4-BE49-F238E27FC236}">
                <a16:creationId xmlns:a16="http://schemas.microsoft.com/office/drawing/2014/main" id="{EC7D0A0C-A665-4B9A-9E91-167E912EF4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53" name="Слайд think-cell" r:id="rId70" imgW="360" imgH="360" progId="TCLayout.ActiveDocument.1">
                  <p:embed/>
                </p:oleObj>
              </mc:Choice>
              <mc:Fallback>
                <p:oleObj name="Слайд think-cell" r:id="rId70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Page">
            <a:extLst>
              <a:ext uri="{FF2B5EF4-FFF2-40B4-BE49-F238E27FC236}">
                <a16:creationId xmlns:a16="http://schemas.microsoft.com/office/drawing/2014/main" id="{637199CA-566D-4949-A666-FE020102137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018838" y="6405563"/>
            <a:ext cx="381000" cy="15398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fld id="{5984D7A3-D24D-4898-B148-CCA79BF6D124}" type="slidenum">
              <a:rPr lang="en-US" altLang="en-US" sz="1000" smtClean="0">
                <a:solidFill>
                  <a:srgbClr val="7F7F7F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7F7F7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260C9DA0-34E4-45E9-8385-204313571C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fld id="{515BD451-8307-446E-BD73-DF646D7E58B0}" type="datetime1">
              <a:rPr lang="en-US" smtClean="0"/>
              <a:t>5/25/2021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920BC4-4CDB-435C-B1F7-AF07C6586B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4700" y="2081213"/>
            <a:ext cx="10642600" cy="3786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6150" name="Title Placeholder 1">
            <a:extLst>
              <a:ext uri="{FF2B5EF4-FFF2-40B4-BE49-F238E27FC236}">
                <a16:creationId xmlns:a16="http://schemas.microsoft.com/office/drawing/2014/main" id="{F70A802C-35BD-4AB4-B8AF-E7729F9F934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774700" y="622300"/>
            <a:ext cx="1064260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>
                <a:sym typeface="Trebuchet MS" panose="020B0603020202020204" pitchFamily="34" charset="0"/>
              </a:rPr>
              <a:t>Click to add tit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4070" r:id="rId1"/>
    <p:sldLayoutId id="2147504071" r:id="rId2"/>
    <p:sldLayoutId id="2147504072" r:id="rId3"/>
    <p:sldLayoutId id="2147504073" r:id="rId4"/>
    <p:sldLayoutId id="2147504074" r:id="rId5"/>
    <p:sldLayoutId id="2147504075" r:id="rId6"/>
    <p:sldLayoutId id="2147504076" r:id="rId7"/>
    <p:sldLayoutId id="2147504077" r:id="rId8"/>
    <p:sldLayoutId id="2147504078" r:id="rId9"/>
    <p:sldLayoutId id="2147504079" r:id="rId10"/>
    <p:sldLayoutId id="2147504080" r:id="rId11"/>
    <p:sldLayoutId id="2147504081" r:id="rId12"/>
    <p:sldLayoutId id="2147504082" r:id="rId13"/>
    <p:sldLayoutId id="2147504083" r:id="rId14"/>
    <p:sldLayoutId id="2147504084" r:id="rId15"/>
    <p:sldLayoutId id="2147504085" r:id="rId16"/>
    <p:sldLayoutId id="2147504086" r:id="rId17"/>
    <p:sldLayoutId id="2147504087" r:id="rId18"/>
    <p:sldLayoutId id="2147504088" r:id="rId19"/>
    <p:sldLayoutId id="2147504089" r:id="rId20"/>
    <p:sldLayoutId id="2147504090" r:id="rId21"/>
    <p:sldLayoutId id="2147504091" r:id="rId22"/>
    <p:sldLayoutId id="2147504092" r:id="rId23"/>
    <p:sldLayoutId id="2147504093" r:id="rId24"/>
    <p:sldLayoutId id="2147504094" r:id="rId25"/>
    <p:sldLayoutId id="2147504095" r:id="rId26"/>
    <p:sldLayoutId id="2147504096" r:id="rId27"/>
    <p:sldLayoutId id="2147504097" r:id="rId28"/>
    <p:sldLayoutId id="2147504098" r:id="rId29"/>
    <p:sldLayoutId id="2147504099" r:id="rId30"/>
    <p:sldLayoutId id="2147504100" r:id="rId31"/>
    <p:sldLayoutId id="2147504101" r:id="rId32"/>
    <p:sldLayoutId id="2147504102" r:id="rId33"/>
    <p:sldLayoutId id="2147504103" r:id="rId34"/>
    <p:sldLayoutId id="2147504104" r:id="rId35"/>
    <p:sldLayoutId id="2147504105" r:id="rId36"/>
    <p:sldLayoutId id="2147504106" r:id="rId37"/>
    <p:sldLayoutId id="2147504107" r:id="rId38"/>
    <p:sldLayoutId id="2147504108" r:id="rId39"/>
    <p:sldLayoutId id="2147504109" r:id="rId40"/>
    <p:sldLayoutId id="2147504110" r:id="rId41"/>
    <p:sldLayoutId id="2147504111" r:id="rId42"/>
    <p:sldLayoutId id="2147504112" r:id="rId43"/>
    <p:sldLayoutId id="2147504113" r:id="rId44"/>
    <p:sldLayoutId id="2147504114" r:id="rId45"/>
    <p:sldLayoutId id="2147504115" r:id="rId46"/>
    <p:sldLayoutId id="2147504116" r:id="rId47"/>
    <p:sldLayoutId id="2147504117" r:id="rId48"/>
    <p:sldLayoutId id="2147504118" r:id="rId49"/>
    <p:sldLayoutId id="2147504119" r:id="rId50"/>
    <p:sldLayoutId id="2147504120" r:id="rId51"/>
    <p:sldLayoutId id="2147504121" r:id="rId52"/>
    <p:sldLayoutId id="2147504122" r:id="rId53"/>
    <p:sldLayoutId id="2147504123" r:id="rId54"/>
    <p:sldLayoutId id="2147504124" r:id="rId55"/>
    <p:sldLayoutId id="2147504125" r:id="rId56"/>
    <p:sldLayoutId id="2147504126" r:id="rId57"/>
    <p:sldLayoutId id="2147504127" r:id="rId58"/>
    <p:sldLayoutId id="2147504128" r:id="rId59"/>
    <p:sldLayoutId id="2147504129" r:id="rId60"/>
    <p:sldLayoutId id="2147504130" r:id="rId61"/>
    <p:sldLayoutId id="2147504131" r:id="rId62"/>
    <p:sldLayoutId id="2147504132" r:id="rId63"/>
    <p:sldLayoutId id="2147504133" r:id="rId64"/>
    <p:sldLayoutId id="2147504134" r:id="rId65"/>
    <p:sldLayoutId id="2147504135" r:id="rId66"/>
  </p:sldLayoutIdLst>
  <p:transition>
    <p:fade/>
  </p:transition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anose="020B0603020202020204" pitchFamily="34" charset="0"/>
          <a:sym typeface="Trebuchet MS" panose="020B0603020202020204" pitchFamily="34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163" indent="-17145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75" indent="-16510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algn="l" rtl="0" eaLnBrk="0" fontAlgn="base" hangingPunct="0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algn="l" rtl="0" eaLnBrk="0" fontAlgn="base" hangingPunct="0">
        <a:spcBef>
          <a:spcPct val="0"/>
        </a:spcBef>
        <a:spcAft>
          <a:spcPts val="300"/>
        </a:spcAft>
        <a:buFont typeface="Arial" panose="020B0604020202020204" pitchFamily="34" charset="0"/>
        <a:buChar char="​"/>
        <a:defRPr lang="en-US" sz="1600" b="1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509.xml"/><Relationship Id="rId13" Type="http://schemas.openxmlformats.org/officeDocument/2006/relationships/tags" Target="../tags/tag514.xml"/><Relationship Id="rId18" Type="http://schemas.openxmlformats.org/officeDocument/2006/relationships/chart" Target="../charts/chart1.xml"/><Relationship Id="rId3" Type="http://schemas.openxmlformats.org/officeDocument/2006/relationships/tags" Target="../tags/tag504.xml"/><Relationship Id="rId21" Type="http://schemas.openxmlformats.org/officeDocument/2006/relationships/chart" Target="../charts/chart2.xml"/><Relationship Id="rId7" Type="http://schemas.openxmlformats.org/officeDocument/2006/relationships/tags" Target="../tags/tag508.xml"/><Relationship Id="rId12" Type="http://schemas.openxmlformats.org/officeDocument/2006/relationships/tags" Target="../tags/tag513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503.xml"/><Relationship Id="rId16" Type="http://schemas.openxmlformats.org/officeDocument/2006/relationships/tags" Target="../tags/tag517.xml"/><Relationship Id="rId20" Type="http://schemas.openxmlformats.org/officeDocument/2006/relationships/image" Target="../media/image1.emf"/><Relationship Id="rId1" Type="http://schemas.openxmlformats.org/officeDocument/2006/relationships/vmlDrawing" Target="../drawings/vmlDrawing131.vml"/><Relationship Id="rId6" Type="http://schemas.openxmlformats.org/officeDocument/2006/relationships/tags" Target="../tags/tag507.xml"/><Relationship Id="rId11" Type="http://schemas.openxmlformats.org/officeDocument/2006/relationships/tags" Target="../tags/tag512.xml"/><Relationship Id="rId5" Type="http://schemas.openxmlformats.org/officeDocument/2006/relationships/tags" Target="../tags/tag506.xml"/><Relationship Id="rId15" Type="http://schemas.openxmlformats.org/officeDocument/2006/relationships/tags" Target="../tags/tag516.xml"/><Relationship Id="rId10" Type="http://schemas.openxmlformats.org/officeDocument/2006/relationships/tags" Target="../tags/tag511.xml"/><Relationship Id="rId19" Type="http://schemas.openxmlformats.org/officeDocument/2006/relationships/oleObject" Target="../embeddings/oleObject146.bin"/><Relationship Id="rId4" Type="http://schemas.openxmlformats.org/officeDocument/2006/relationships/tags" Target="../tags/tag505.xml"/><Relationship Id="rId9" Type="http://schemas.openxmlformats.org/officeDocument/2006/relationships/tags" Target="../tags/tag510.xml"/><Relationship Id="rId14" Type="http://schemas.openxmlformats.org/officeDocument/2006/relationships/tags" Target="../tags/tag515.xml"/><Relationship Id="rId22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jpeg"/><Relationship Id="rId18" Type="http://schemas.openxmlformats.org/officeDocument/2006/relationships/image" Target="../media/image3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29.png"/><Relationship Id="rId2" Type="http://schemas.openxmlformats.org/officeDocument/2006/relationships/tags" Target="../tags/tag518.xml"/><Relationship Id="rId16" Type="http://schemas.openxmlformats.org/officeDocument/2006/relationships/image" Target="../media/image14.svg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1.emf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147.bin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8490C57-3245-4A3D-A389-6735EDAD3A8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B838200C-AA77-42B5-BC8D-B390329FBE62}"/>
              </a:ext>
            </a:extLst>
          </p:cNvPr>
          <p:cNvSpPr/>
          <p:nvPr/>
        </p:nvSpPr>
        <p:spPr>
          <a:xfrm>
            <a:off x="9184" y="8965"/>
            <a:ext cx="12191527" cy="6884923"/>
          </a:xfrm>
          <a:custGeom>
            <a:avLst/>
            <a:gdLst>
              <a:gd name="connsiteX0" fmla="*/ 2149642 w 9817768"/>
              <a:gd name="connsiteY0" fmla="*/ 6866021 h 6898105"/>
              <a:gd name="connsiteX1" fmla="*/ 5534526 w 9817768"/>
              <a:gd name="connsiteY1" fmla="*/ 3818021 h 6898105"/>
              <a:gd name="connsiteX2" fmla="*/ 6962274 w 9817768"/>
              <a:gd name="connsiteY2" fmla="*/ 3785937 h 6898105"/>
              <a:gd name="connsiteX3" fmla="*/ 9817768 w 9817768"/>
              <a:gd name="connsiteY3" fmla="*/ 32084 h 6898105"/>
              <a:gd name="connsiteX4" fmla="*/ 0 w 9817768"/>
              <a:gd name="connsiteY4" fmla="*/ 0 h 6898105"/>
              <a:gd name="connsiteX5" fmla="*/ 0 w 9817768"/>
              <a:gd name="connsiteY5" fmla="*/ 6898105 h 6898105"/>
              <a:gd name="connsiteX6" fmla="*/ 2149642 w 9817768"/>
              <a:gd name="connsiteY6" fmla="*/ 6866021 h 6898105"/>
              <a:gd name="connsiteX0" fmla="*/ 2149642 w 9817768"/>
              <a:gd name="connsiteY0" fmla="*/ 6866021 h 6898105"/>
              <a:gd name="connsiteX1" fmla="*/ 2219536 w 9817768"/>
              <a:gd name="connsiteY1" fmla="*/ 3889738 h 6898105"/>
              <a:gd name="connsiteX2" fmla="*/ 6962274 w 9817768"/>
              <a:gd name="connsiteY2" fmla="*/ 3785937 h 6898105"/>
              <a:gd name="connsiteX3" fmla="*/ 9817768 w 9817768"/>
              <a:gd name="connsiteY3" fmla="*/ 32084 h 6898105"/>
              <a:gd name="connsiteX4" fmla="*/ 0 w 9817768"/>
              <a:gd name="connsiteY4" fmla="*/ 0 h 6898105"/>
              <a:gd name="connsiteX5" fmla="*/ 0 w 9817768"/>
              <a:gd name="connsiteY5" fmla="*/ 6898105 h 6898105"/>
              <a:gd name="connsiteX6" fmla="*/ 2149642 w 9817768"/>
              <a:gd name="connsiteY6" fmla="*/ 6866021 h 6898105"/>
              <a:gd name="connsiteX0" fmla="*/ 2149642 w 6962274"/>
              <a:gd name="connsiteY0" fmla="*/ 6878761 h 6910845"/>
              <a:gd name="connsiteX1" fmla="*/ 2219536 w 6962274"/>
              <a:gd name="connsiteY1" fmla="*/ 3902478 h 6910845"/>
              <a:gd name="connsiteX2" fmla="*/ 6962274 w 6962274"/>
              <a:gd name="connsiteY2" fmla="*/ 3798677 h 6910845"/>
              <a:gd name="connsiteX3" fmla="*/ 2153687 w 6962274"/>
              <a:gd name="connsiteY3" fmla="*/ 0 h 6910845"/>
              <a:gd name="connsiteX4" fmla="*/ 0 w 6962274"/>
              <a:gd name="connsiteY4" fmla="*/ 12740 h 6910845"/>
              <a:gd name="connsiteX5" fmla="*/ 0 w 6962274"/>
              <a:gd name="connsiteY5" fmla="*/ 6910845 h 6910845"/>
              <a:gd name="connsiteX6" fmla="*/ 2149642 w 6962274"/>
              <a:gd name="connsiteY6" fmla="*/ 6878761 h 6910845"/>
              <a:gd name="connsiteX0" fmla="*/ 2149642 w 2219536"/>
              <a:gd name="connsiteY0" fmla="*/ 6878761 h 6910845"/>
              <a:gd name="connsiteX1" fmla="*/ 2219536 w 2219536"/>
              <a:gd name="connsiteY1" fmla="*/ 3902478 h 6910845"/>
              <a:gd name="connsiteX2" fmla="*/ 2209810 w 2219536"/>
              <a:gd name="connsiteY2" fmla="*/ 3915218 h 6910845"/>
              <a:gd name="connsiteX3" fmla="*/ 2153687 w 2219536"/>
              <a:gd name="connsiteY3" fmla="*/ 0 h 6910845"/>
              <a:gd name="connsiteX4" fmla="*/ 0 w 2219536"/>
              <a:gd name="connsiteY4" fmla="*/ 12740 h 6910845"/>
              <a:gd name="connsiteX5" fmla="*/ 0 w 2219536"/>
              <a:gd name="connsiteY5" fmla="*/ 6910845 h 6910845"/>
              <a:gd name="connsiteX6" fmla="*/ 2149642 w 2219536"/>
              <a:gd name="connsiteY6" fmla="*/ 6878761 h 6910845"/>
              <a:gd name="connsiteX0" fmla="*/ 2149642 w 2219536"/>
              <a:gd name="connsiteY0" fmla="*/ 6878761 h 6910845"/>
              <a:gd name="connsiteX1" fmla="*/ 2219536 w 2219536"/>
              <a:gd name="connsiteY1" fmla="*/ 3902478 h 6910845"/>
              <a:gd name="connsiteX2" fmla="*/ 2114468 w 2219536"/>
              <a:gd name="connsiteY2" fmla="*/ 3897289 h 6910845"/>
              <a:gd name="connsiteX3" fmla="*/ 2153687 w 2219536"/>
              <a:gd name="connsiteY3" fmla="*/ 0 h 6910845"/>
              <a:gd name="connsiteX4" fmla="*/ 0 w 2219536"/>
              <a:gd name="connsiteY4" fmla="*/ 12740 h 6910845"/>
              <a:gd name="connsiteX5" fmla="*/ 0 w 2219536"/>
              <a:gd name="connsiteY5" fmla="*/ 6910845 h 6910845"/>
              <a:gd name="connsiteX6" fmla="*/ 2149642 w 2219536"/>
              <a:gd name="connsiteY6" fmla="*/ 6878761 h 6910845"/>
              <a:gd name="connsiteX0" fmla="*/ 2149642 w 2153687"/>
              <a:gd name="connsiteY0" fmla="*/ 6878761 h 6910845"/>
              <a:gd name="connsiteX1" fmla="*/ 2131527 w 2153687"/>
              <a:gd name="connsiteY1" fmla="*/ 3956266 h 6910845"/>
              <a:gd name="connsiteX2" fmla="*/ 2114468 w 2153687"/>
              <a:gd name="connsiteY2" fmla="*/ 3897289 h 6910845"/>
              <a:gd name="connsiteX3" fmla="*/ 2153687 w 2153687"/>
              <a:gd name="connsiteY3" fmla="*/ 0 h 6910845"/>
              <a:gd name="connsiteX4" fmla="*/ 0 w 2153687"/>
              <a:gd name="connsiteY4" fmla="*/ 12740 h 6910845"/>
              <a:gd name="connsiteX5" fmla="*/ 0 w 2153687"/>
              <a:gd name="connsiteY5" fmla="*/ 6910845 h 6910845"/>
              <a:gd name="connsiteX6" fmla="*/ 2149642 w 2153687"/>
              <a:gd name="connsiteY6" fmla="*/ 6878761 h 6910845"/>
              <a:gd name="connsiteX0" fmla="*/ 2090970 w 2153687"/>
              <a:gd name="connsiteY0" fmla="*/ 6878761 h 6910845"/>
              <a:gd name="connsiteX1" fmla="*/ 2131527 w 2153687"/>
              <a:gd name="connsiteY1" fmla="*/ 3956266 h 6910845"/>
              <a:gd name="connsiteX2" fmla="*/ 2114468 w 2153687"/>
              <a:gd name="connsiteY2" fmla="*/ 3897289 h 6910845"/>
              <a:gd name="connsiteX3" fmla="*/ 2153687 w 2153687"/>
              <a:gd name="connsiteY3" fmla="*/ 0 h 6910845"/>
              <a:gd name="connsiteX4" fmla="*/ 0 w 2153687"/>
              <a:gd name="connsiteY4" fmla="*/ 12740 h 6910845"/>
              <a:gd name="connsiteX5" fmla="*/ 0 w 2153687"/>
              <a:gd name="connsiteY5" fmla="*/ 6910845 h 6910845"/>
              <a:gd name="connsiteX6" fmla="*/ 2090970 w 2153687"/>
              <a:gd name="connsiteY6" fmla="*/ 6878761 h 6910845"/>
              <a:gd name="connsiteX0" fmla="*/ 2090970 w 2153687"/>
              <a:gd name="connsiteY0" fmla="*/ 6878761 h 6910845"/>
              <a:gd name="connsiteX1" fmla="*/ 2131527 w 2153687"/>
              <a:gd name="connsiteY1" fmla="*/ 3956266 h 6910845"/>
              <a:gd name="connsiteX2" fmla="*/ 2136812 w 2153687"/>
              <a:gd name="connsiteY2" fmla="*/ 3969183 h 6910845"/>
              <a:gd name="connsiteX3" fmla="*/ 2153687 w 2153687"/>
              <a:gd name="connsiteY3" fmla="*/ 0 h 6910845"/>
              <a:gd name="connsiteX4" fmla="*/ 0 w 2153687"/>
              <a:gd name="connsiteY4" fmla="*/ 12740 h 6910845"/>
              <a:gd name="connsiteX5" fmla="*/ 0 w 2153687"/>
              <a:gd name="connsiteY5" fmla="*/ 6910845 h 6910845"/>
              <a:gd name="connsiteX6" fmla="*/ 2090970 w 2153687"/>
              <a:gd name="connsiteY6" fmla="*/ 6878761 h 6910845"/>
              <a:gd name="connsiteX0" fmla="*/ 2090970 w 2153687"/>
              <a:gd name="connsiteY0" fmla="*/ 6878761 h 6910845"/>
              <a:gd name="connsiteX1" fmla="*/ 2131527 w 2153687"/>
              <a:gd name="connsiteY1" fmla="*/ 3956266 h 6910845"/>
              <a:gd name="connsiteX2" fmla="*/ 2144260 w 2153687"/>
              <a:gd name="connsiteY2" fmla="*/ 2090952 h 6910845"/>
              <a:gd name="connsiteX3" fmla="*/ 2153687 w 2153687"/>
              <a:gd name="connsiteY3" fmla="*/ 0 h 6910845"/>
              <a:gd name="connsiteX4" fmla="*/ 0 w 2153687"/>
              <a:gd name="connsiteY4" fmla="*/ 12740 h 6910845"/>
              <a:gd name="connsiteX5" fmla="*/ 0 w 2153687"/>
              <a:gd name="connsiteY5" fmla="*/ 6910845 h 6910845"/>
              <a:gd name="connsiteX6" fmla="*/ 2090970 w 2153687"/>
              <a:gd name="connsiteY6" fmla="*/ 6878761 h 6910845"/>
              <a:gd name="connsiteX0" fmla="*/ 2158001 w 2158001"/>
              <a:gd name="connsiteY0" fmla="*/ 6860787 h 6910845"/>
              <a:gd name="connsiteX1" fmla="*/ 2131527 w 2158001"/>
              <a:gd name="connsiteY1" fmla="*/ 3956266 h 6910845"/>
              <a:gd name="connsiteX2" fmla="*/ 2144260 w 2158001"/>
              <a:gd name="connsiteY2" fmla="*/ 2090952 h 6910845"/>
              <a:gd name="connsiteX3" fmla="*/ 2153687 w 2158001"/>
              <a:gd name="connsiteY3" fmla="*/ 0 h 6910845"/>
              <a:gd name="connsiteX4" fmla="*/ 0 w 2158001"/>
              <a:gd name="connsiteY4" fmla="*/ 12740 h 6910845"/>
              <a:gd name="connsiteX5" fmla="*/ 0 w 2158001"/>
              <a:gd name="connsiteY5" fmla="*/ 6910845 h 6910845"/>
              <a:gd name="connsiteX6" fmla="*/ 2158001 w 2158001"/>
              <a:gd name="connsiteY6" fmla="*/ 6860787 h 6910845"/>
              <a:gd name="connsiteX0" fmla="*/ 10119830 w 10119830"/>
              <a:gd name="connsiteY0" fmla="*/ 6851800 h 6910845"/>
              <a:gd name="connsiteX1" fmla="*/ 2131527 w 10119830"/>
              <a:gd name="connsiteY1" fmla="*/ 3956266 h 6910845"/>
              <a:gd name="connsiteX2" fmla="*/ 2144260 w 10119830"/>
              <a:gd name="connsiteY2" fmla="*/ 2090952 h 6910845"/>
              <a:gd name="connsiteX3" fmla="*/ 2153687 w 10119830"/>
              <a:gd name="connsiteY3" fmla="*/ 0 h 6910845"/>
              <a:gd name="connsiteX4" fmla="*/ 0 w 10119830"/>
              <a:gd name="connsiteY4" fmla="*/ 12740 h 6910845"/>
              <a:gd name="connsiteX5" fmla="*/ 0 w 10119830"/>
              <a:gd name="connsiteY5" fmla="*/ 6910845 h 6910845"/>
              <a:gd name="connsiteX6" fmla="*/ 10119830 w 10119830"/>
              <a:gd name="connsiteY6" fmla="*/ 6851800 h 6910845"/>
              <a:gd name="connsiteX0" fmla="*/ 10119830 w 10119830"/>
              <a:gd name="connsiteY0" fmla="*/ 6851800 h 6910845"/>
              <a:gd name="connsiteX1" fmla="*/ 10115700 w 10119830"/>
              <a:gd name="connsiteY1" fmla="*/ 3767545 h 6910845"/>
              <a:gd name="connsiteX2" fmla="*/ 2144260 w 10119830"/>
              <a:gd name="connsiteY2" fmla="*/ 2090952 h 6910845"/>
              <a:gd name="connsiteX3" fmla="*/ 2153687 w 10119830"/>
              <a:gd name="connsiteY3" fmla="*/ 0 h 6910845"/>
              <a:gd name="connsiteX4" fmla="*/ 0 w 10119830"/>
              <a:gd name="connsiteY4" fmla="*/ 12740 h 6910845"/>
              <a:gd name="connsiteX5" fmla="*/ 0 w 10119830"/>
              <a:gd name="connsiteY5" fmla="*/ 6910845 h 6910845"/>
              <a:gd name="connsiteX6" fmla="*/ 10119830 w 10119830"/>
              <a:gd name="connsiteY6" fmla="*/ 6851800 h 6910845"/>
              <a:gd name="connsiteX0" fmla="*/ 10119830 w 10128433"/>
              <a:gd name="connsiteY0" fmla="*/ 6851800 h 6910845"/>
              <a:gd name="connsiteX1" fmla="*/ 10115700 w 10128433"/>
              <a:gd name="connsiteY1" fmla="*/ 3767545 h 6910845"/>
              <a:gd name="connsiteX2" fmla="*/ 10128433 w 10128433"/>
              <a:gd name="connsiteY2" fmla="*/ 1812363 h 6910845"/>
              <a:gd name="connsiteX3" fmla="*/ 2153687 w 10128433"/>
              <a:gd name="connsiteY3" fmla="*/ 0 h 6910845"/>
              <a:gd name="connsiteX4" fmla="*/ 0 w 10128433"/>
              <a:gd name="connsiteY4" fmla="*/ 12740 h 6910845"/>
              <a:gd name="connsiteX5" fmla="*/ 0 w 10128433"/>
              <a:gd name="connsiteY5" fmla="*/ 6910845 h 6910845"/>
              <a:gd name="connsiteX6" fmla="*/ 10119830 w 10128433"/>
              <a:gd name="connsiteY6" fmla="*/ 6851800 h 6910845"/>
              <a:gd name="connsiteX0" fmla="*/ 10119830 w 10128781"/>
              <a:gd name="connsiteY0" fmla="*/ 6842813 h 6901858"/>
              <a:gd name="connsiteX1" fmla="*/ 10115700 w 10128781"/>
              <a:gd name="connsiteY1" fmla="*/ 3758558 h 6901858"/>
              <a:gd name="connsiteX2" fmla="*/ 10128433 w 10128781"/>
              <a:gd name="connsiteY2" fmla="*/ 1803376 h 6901858"/>
              <a:gd name="connsiteX3" fmla="*/ 10115516 w 10128781"/>
              <a:gd name="connsiteY3" fmla="*/ 0 h 6901858"/>
              <a:gd name="connsiteX4" fmla="*/ 0 w 10128781"/>
              <a:gd name="connsiteY4" fmla="*/ 3753 h 6901858"/>
              <a:gd name="connsiteX5" fmla="*/ 0 w 10128781"/>
              <a:gd name="connsiteY5" fmla="*/ 6901858 h 6901858"/>
              <a:gd name="connsiteX6" fmla="*/ 10119830 w 10128781"/>
              <a:gd name="connsiteY6" fmla="*/ 6842813 h 6901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128781" h="6901858">
                <a:moveTo>
                  <a:pt x="10119830" y="6842813"/>
                </a:moveTo>
                <a:cubicBezTo>
                  <a:pt x="10118453" y="5814728"/>
                  <a:pt x="10117077" y="4786643"/>
                  <a:pt x="10115700" y="3758558"/>
                </a:cubicBezTo>
                <a:cubicBezTo>
                  <a:pt x="10119944" y="3136787"/>
                  <a:pt x="10124189" y="2425147"/>
                  <a:pt x="10128433" y="1803376"/>
                </a:cubicBezTo>
                <a:cubicBezTo>
                  <a:pt x="10131575" y="1106392"/>
                  <a:pt x="10112374" y="696984"/>
                  <a:pt x="10115516" y="0"/>
                </a:cubicBezTo>
                <a:lnTo>
                  <a:pt x="0" y="3753"/>
                </a:lnTo>
                <a:lnTo>
                  <a:pt x="0" y="6901858"/>
                </a:lnTo>
                <a:lnTo>
                  <a:pt x="10119830" y="6842813"/>
                </a:lnTo>
                <a:close/>
              </a:path>
            </a:pathLst>
          </a:custGeom>
          <a:solidFill>
            <a:srgbClr val="00206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95D56FA-DB94-4CA4-A6DE-11E901D7E0D9}"/>
              </a:ext>
            </a:extLst>
          </p:cNvPr>
          <p:cNvSpPr txBox="1"/>
          <p:nvPr/>
        </p:nvSpPr>
        <p:spPr>
          <a:xfrm>
            <a:off x="1498957" y="2200801"/>
            <a:ext cx="96490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>
                <a:solidFill>
                  <a:schemeClr val="bg1"/>
                </a:solidFill>
                <a:cs typeface="Calibri" panose="020F0502020204030204" pitchFamily="34" charset="0"/>
              </a:rPr>
              <a:t>Новые подходы содействия занятости и изучение рынка труда</a:t>
            </a:r>
            <a:endParaRPr lang="en-US" sz="4000" b="1" dirty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390021" y="3933056"/>
            <a:ext cx="2831431" cy="121044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1487488" y="3660512"/>
            <a:ext cx="9576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0066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Скругленный прямоугольник 105"/>
          <p:cNvSpPr/>
          <p:nvPr/>
        </p:nvSpPr>
        <p:spPr>
          <a:xfrm>
            <a:off x="8796212" y="2296191"/>
            <a:ext cx="2011680" cy="47827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8796212" y="1727293"/>
            <a:ext cx="1620000" cy="478270"/>
          </a:xfrm>
          <a:prstGeom prst="roundRect">
            <a:avLst/>
          </a:prstGeom>
          <a:solidFill>
            <a:srgbClr val="589CD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71" name="Диаграмма 7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2745044"/>
              </p:ext>
            </p:extLst>
          </p:nvPr>
        </p:nvGraphicFramePr>
        <p:xfrm>
          <a:off x="1038837" y="1338046"/>
          <a:ext cx="2961051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346114" name="Объект 4" hidden="1">
            <a:extLst>
              <a:ext uri="{FF2B5EF4-FFF2-40B4-BE49-F238E27FC236}">
                <a16:creationId xmlns:a16="http://schemas.microsoft.com/office/drawing/2014/main" id="{78A9CD0E-75AB-4DEF-A4D2-6AE619DF59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96" name="Слайд think-cell" r:id="rId19" imgW="383" imgH="384" progId="TCLayout.ActiveDocument.1">
                  <p:embed/>
                </p:oleObj>
              </mc:Choice>
              <mc:Fallback>
                <p:oleObj name="Слайд think-cell" r:id="rId19" imgW="383" imgH="384" progId="TCLayout.ActiveDocument.1">
                  <p:embed/>
                  <p:pic>
                    <p:nvPicPr>
                      <p:cNvPr id="346114" name="Объект 4" hidden="1">
                        <a:extLst>
                          <a:ext uri="{FF2B5EF4-FFF2-40B4-BE49-F238E27FC236}">
                            <a16:creationId xmlns:a16="http://schemas.microsoft.com/office/drawing/2014/main" id="{78A9CD0E-75AB-4DEF-A4D2-6AE619DF59A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FD97FC22-4B49-4A83-8526-264D9CACAA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12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D9A342FE-5C82-4F52-BF2B-CFF321963454}"/>
              </a:ext>
            </a:extLst>
          </p:cNvPr>
          <p:cNvSpPr txBox="1">
            <a:spLocks/>
          </p:cNvSpPr>
          <p:nvPr/>
        </p:nvSpPr>
        <p:spPr bwMode="auto">
          <a:xfrm>
            <a:off x="286803" y="169489"/>
            <a:ext cx="11269663" cy="30777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r>
              <a:rPr lang="ru-RU" sz="20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  <a:sym typeface="Trebuchet MS" panose="020B0603020202020204" pitchFamily="34" charset="0"/>
              </a:rPr>
              <a:t>ВЛИЯНИЕ ПАНДЕМИИ НА РЫНОК ТРУДА</a:t>
            </a:r>
            <a:endParaRPr lang="ru-RU" sz="2000" b="1" dirty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57" name="Google Shape;11;p1">
            <a:extLst>
              <a:ext uri="{FF2B5EF4-FFF2-40B4-BE49-F238E27FC236}">
                <a16:creationId xmlns:a16="http://schemas.microsoft.com/office/drawing/2014/main" id="{9877CE75-DB62-47DB-AC33-5348D66839BA}"/>
              </a:ext>
            </a:extLst>
          </p:cNvPr>
          <p:cNvSpPr txBox="1"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421079" y="1842379"/>
            <a:ext cx="566738" cy="150813"/>
          </a:xfrm>
          <a:prstGeom prst="rect">
            <a:avLst/>
          </a:pr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1pPr>
            <a:lvl2pPr lvl="1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2pPr>
            <a:lvl3pPr lvl="2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3pPr>
            <a:lvl4pPr lvl="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4pPr>
            <a:lvl5pPr lvl="4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</a:pPr>
            <a:fld id="{9477D426-374B-484A-B675-703878F2F562}" type="datetime'4''4''''''''''''''''''''1'''''">
              <a:rPr lang="en-US" altLang="en-US" sz="11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Trebuchet MS" panose="020B0603020202020204" pitchFamily="34" charset="0"/>
              </a:rPr>
              <a:pPr algn="ctr">
                <a:lnSpc>
                  <a:spcPct val="90000"/>
                </a:lnSpc>
              </a:pPr>
              <a:t>441</a:t>
            </a:fld>
            <a:r>
              <a:rPr lang="ru-RU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1000" dirty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Trebuchet MS" panose="020B0603020202020204" pitchFamily="34" charset="0"/>
              </a:rPr>
              <a:t>тыс.</a:t>
            </a:r>
            <a:endParaRPr lang="en-US" altLang="en-US" sz="1000" dirty="0">
              <a:solidFill>
                <a:schemeClr val="bg1"/>
              </a:solidFill>
              <a:latin typeface="+mn-lt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1" name="Google Shape;11;p1">
            <a:extLst>
              <a:ext uri="{FF2B5EF4-FFF2-40B4-BE49-F238E27FC236}">
                <a16:creationId xmlns:a16="http://schemas.microsoft.com/office/drawing/2014/main" id="{5F9DD67F-591E-4CBD-8477-6BD4F128866B}"/>
              </a:ext>
            </a:extLst>
          </p:cNvPr>
          <p:cNvSpPr txBox="1"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416011" y="1614616"/>
            <a:ext cx="566738" cy="150813"/>
          </a:xfrm>
          <a:prstGeom prst="rect">
            <a:avLst/>
          </a:pr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1pPr>
            <a:lvl2pPr lvl="1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2pPr>
            <a:lvl3pPr lvl="2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3pPr>
            <a:lvl4pPr lvl="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4pPr>
            <a:lvl5pPr lvl="4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</a:pPr>
            <a:fld id="{B96F8C22-010F-41C3-B478-50A515C90040}" type="datetime'''4''''''''''''''''''''''''''''4''''''''''''''''''''''''9'''''">
              <a:rPr lang="en-US" altLang="en-US" sz="11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Trebuchet MS" panose="020B0603020202020204" pitchFamily="34" charset="0"/>
              </a:rPr>
              <a:pPr algn="ctr">
                <a:lnSpc>
                  <a:spcPct val="90000"/>
                </a:lnSpc>
              </a:pPr>
              <a:t>449</a:t>
            </a:fld>
            <a:r>
              <a:rPr lang="ru-RU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Trebuchet MS" panose="020B0603020202020204" pitchFamily="34" charset="0"/>
              </a:rPr>
              <a:t> </a:t>
            </a:r>
            <a:r>
              <a:rPr lang="ru-RU" altLang="en-US" sz="1000" dirty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Trebuchet MS" panose="020B0603020202020204" pitchFamily="34" charset="0"/>
              </a:rPr>
              <a:t>тыс.</a:t>
            </a:r>
            <a:endParaRPr lang="en-US" altLang="en-US" sz="1000" dirty="0">
              <a:solidFill>
                <a:schemeClr val="bg1"/>
              </a:solidFill>
              <a:latin typeface="+mn-lt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6" name="Прямоугольник 165">
            <a:extLst>
              <a:ext uri="{FF2B5EF4-FFF2-40B4-BE49-F238E27FC236}">
                <a16:creationId xmlns:a16="http://schemas.microsoft.com/office/drawing/2014/main" id="{9286F675-20DE-4EB9-A9B7-5C7663489EC8}"/>
              </a:ext>
            </a:extLst>
          </p:cNvPr>
          <p:cNvSpPr/>
          <p:nvPr/>
        </p:nvSpPr>
        <p:spPr>
          <a:xfrm>
            <a:off x="1977924" y="1565894"/>
            <a:ext cx="468313" cy="160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i="1" dirty="0">
                <a:solidFill>
                  <a:srgbClr val="999595"/>
                </a:solidFill>
                <a:cs typeface="Arial" panose="020B0604020202020204" pitchFamily="34" charset="0"/>
              </a:rPr>
              <a:t>4,9%</a:t>
            </a:r>
          </a:p>
        </p:txBody>
      </p:sp>
      <p:sp>
        <p:nvSpPr>
          <p:cNvPr id="169" name="Прямоугольник 168">
            <a:extLst>
              <a:ext uri="{FF2B5EF4-FFF2-40B4-BE49-F238E27FC236}">
                <a16:creationId xmlns:a16="http://schemas.microsoft.com/office/drawing/2014/main" id="{E28BA21C-EA4D-43D5-8308-8FE77270DC7C}"/>
              </a:ext>
            </a:extLst>
          </p:cNvPr>
          <p:cNvSpPr/>
          <p:nvPr/>
        </p:nvSpPr>
        <p:spPr>
          <a:xfrm>
            <a:off x="2014437" y="1839746"/>
            <a:ext cx="431800" cy="146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i="1" dirty="0">
                <a:solidFill>
                  <a:srgbClr val="999595"/>
                </a:solidFill>
                <a:cs typeface="Arial" panose="020B0604020202020204" pitchFamily="34" charset="0"/>
              </a:rPr>
              <a:t>4,8</a:t>
            </a:r>
            <a:r>
              <a:rPr lang="ru-RU" sz="1400" b="1" i="1" dirty="0">
                <a:solidFill>
                  <a:srgbClr val="999595"/>
                </a:solidFill>
                <a:cs typeface="Arial" panose="020B0604020202020204" pitchFamily="34" charset="0"/>
              </a:rPr>
              <a:t>%</a:t>
            </a:r>
            <a:endParaRPr lang="ru-RU" sz="1200" b="1" i="1" dirty="0">
              <a:solidFill>
                <a:srgbClr val="999595"/>
              </a:solidFill>
              <a:cs typeface="Arial" panose="020B0604020202020204" pitchFamily="34" charset="0"/>
            </a:endParaRPr>
          </a:p>
        </p:txBody>
      </p:sp>
      <p:cxnSp>
        <p:nvCxnSpPr>
          <p:cNvPr id="172" name="Straight Connector 105"/>
          <p:cNvCxnSpPr/>
          <p:nvPr/>
        </p:nvCxnSpPr>
        <p:spPr>
          <a:xfrm>
            <a:off x="304800" y="1311432"/>
            <a:ext cx="3887788" cy="9525"/>
          </a:xfrm>
          <a:prstGeom prst="line">
            <a:avLst/>
          </a:prstGeom>
          <a:ln w="28575" cap="rnd" cmpd="sng" algn="ctr">
            <a:solidFill>
              <a:srgbClr val="D98410"/>
            </a:solidFill>
            <a:prstDash val="sysDot"/>
            <a:round/>
            <a:headEnd type="none" w="med" len="med"/>
            <a:tailEnd type="none" w="med" len="med"/>
          </a:ln>
        </p:spPr>
      </p:cxnSp>
      <p:sp>
        <p:nvSpPr>
          <p:cNvPr id="175" name="Прямоугольник 174"/>
          <p:cNvSpPr/>
          <p:nvPr/>
        </p:nvSpPr>
        <p:spPr>
          <a:xfrm>
            <a:off x="361949" y="3819077"/>
            <a:ext cx="3957258" cy="19949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>
              <a:lnSpc>
                <a:spcPct val="97000"/>
              </a:lnSpc>
              <a:spcBef>
                <a:spcPts val="0"/>
              </a:spcBef>
              <a:spcAft>
                <a:spcPts val="600"/>
              </a:spcAft>
              <a:buClr>
                <a:schemeClr val="accent5">
                  <a:lumMod val="50000"/>
                </a:schemeClr>
              </a:buClr>
              <a:buSzPct val="100000"/>
              <a:defRPr/>
            </a:pP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Уменьшение численности рабочей силы и рост количества 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безработных</a:t>
            </a:r>
            <a:endParaRPr lang="ru-RU" sz="1400" dirty="0" smtClean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marL="285750" lvl="1" indent="-285750" algn="just">
              <a:lnSpc>
                <a:spcPct val="97000"/>
              </a:lnSpc>
              <a:spcBef>
                <a:spcPts val="0"/>
              </a:spcBef>
              <a:spcAft>
                <a:spcPts val="600"/>
              </a:spcAft>
              <a:buClr>
                <a:schemeClr val="accent5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Уровень 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безработицы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вырос на 0,1 </a:t>
            </a:r>
            <a:r>
              <a:rPr lang="ru-RU" sz="1400" dirty="0" err="1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пп</a:t>
            </a: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и составил </a:t>
            </a:r>
            <a:r>
              <a:rPr lang="ru-RU" sz="1400" b="1" dirty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4,9</a:t>
            </a:r>
            <a:r>
              <a:rPr lang="ru-RU" sz="1400" dirty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%</a:t>
            </a:r>
            <a:endParaRPr lang="en-US" sz="1400" dirty="0">
              <a:solidFill>
                <a:srgbClr val="D98410"/>
              </a:solidFill>
              <a:latin typeface="+mn-lt"/>
              <a:cs typeface="Arial" panose="020B0604020202020204" pitchFamily="34" charset="0"/>
            </a:endParaRPr>
          </a:p>
          <a:p>
            <a:pPr marL="285750" lvl="1" indent="-285750" algn="just">
              <a:lnSpc>
                <a:spcPct val="97000"/>
              </a:lnSpc>
              <a:spcBef>
                <a:spcPts val="0"/>
              </a:spcBef>
              <a:spcAft>
                <a:spcPts val="600"/>
              </a:spcAft>
              <a:buClr>
                <a:schemeClr val="accent5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Численность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занятого населения сократилась на </a:t>
            </a:r>
            <a:r>
              <a:rPr lang="ru-RU" sz="1400" b="1" dirty="0" smtClean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0,6</a:t>
            </a:r>
            <a:r>
              <a:rPr lang="ru-RU" sz="1400" dirty="0" smtClean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%</a:t>
            </a:r>
            <a:endParaRPr lang="ru-RU" sz="1400" dirty="0">
              <a:solidFill>
                <a:srgbClr val="D98410"/>
              </a:solidFill>
              <a:latin typeface="+mn-lt"/>
              <a:cs typeface="Arial" panose="020B0604020202020204" pitchFamily="34" charset="0"/>
            </a:endParaRPr>
          </a:p>
          <a:p>
            <a:pPr marL="285750" lvl="1" indent="-285750" algn="just">
              <a:lnSpc>
                <a:spcPct val="97000"/>
              </a:lnSpc>
              <a:spcBef>
                <a:spcPts val="0"/>
              </a:spcBef>
              <a:spcAft>
                <a:spcPts val="600"/>
              </a:spcAft>
              <a:buClr>
                <a:schemeClr val="accent5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Число 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самозанятых 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сократилось на </a:t>
            </a:r>
            <a:br>
              <a:rPr lang="ru-RU" sz="1400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</a:br>
            <a:r>
              <a:rPr lang="ru-RU" sz="1400" b="1" dirty="0" smtClean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2,6</a:t>
            </a:r>
            <a:r>
              <a:rPr lang="ru-RU" sz="1400" dirty="0" smtClean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%</a:t>
            </a: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.</a:t>
            </a:r>
          </a:p>
        </p:txBody>
      </p:sp>
      <p:cxnSp>
        <p:nvCxnSpPr>
          <p:cNvPr id="233" name="Прямая соединительная линия 232">
            <a:extLst>
              <a:ext uri="{FF2B5EF4-FFF2-40B4-BE49-F238E27FC236}">
                <a16:creationId xmlns:a16="http://schemas.microsoft.com/office/drawing/2014/main" id="{A4CBE7B0-D243-4EA5-9E6F-A92A218B7825}"/>
              </a:ext>
            </a:extLst>
          </p:cNvPr>
          <p:cNvCxnSpPr>
            <a:cxnSpLocks/>
          </p:cNvCxnSpPr>
          <p:nvPr/>
        </p:nvCxnSpPr>
        <p:spPr>
          <a:xfrm>
            <a:off x="318852" y="615950"/>
            <a:ext cx="10925175" cy="0"/>
          </a:xfrm>
          <a:prstGeom prst="line">
            <a:avLst/>
          </a:prstGeom>
          <a:ln>
            <a:solidFill>
              <a:srgbClr val="D984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105"/>
          <p:cNvCxnSpPr/>
          <p:nvPr/>
        </p:nvCxnSpPr>
        <p:spPr>
          <a:xfrm flipH="1" flipV="1">
            <a:off x="4428820" y="1046879"/>
            <a:ext cx="0" cy="4680000"/>
          </a:xfrm>
          <a:prstGeom prst="line">
            <a:avLst/>
          </a:prstGeom>
          <a:ln w="9525" cap="rnd" cmpd="sng" algn="ctr">
            <a:solidFill>
              <a:srgbClr val="D98410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7" name="Straight Connector 105"/>
          <p:cNvCxnSpPr/>
          <p:nvPr/>
        </p:nvCxnSpPr>
        <p:spPr>
          <a:xfrm flipV="1">
            <a:off x="8389126" y="1310010"/>
            <a:ext cx="3433056" cy="1891"/>
          </a:xfrm>
          <a:prstGeom prst="line">
            <a:avLst/>
          </a:prstGeom>
          <a:ln w="28575" cap="rnd" cmpd="sng" algn="ctr">
            <a:solidFill>
              <a:srgbClr val="D98410"/>
            </a:solidFill>
            <a:prstDash val="sysDot"/>
            <a:round/>
            <a:headEnd type="none" w="med" len="med"/>
            <a:tailEnd type="none" w="med" len="med"/>
          </a:ln>
        </p:spPr>
      </p:cxnSp>
      <p:sp>
        <p:nvSpPr>
          <p:cNvPr id="283" name="Прямоугольник 282"/>
          <p:cNvSpPr/>
          <p:nvPr/>
        </p:nvSpPr>
        <p:spPr>
          <a:xfrm>
            <a:off x="8206335" y="3811805"/>
            <a:ext cx="3828436" cy="5102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>
              <a:lnSpc>
                <a:spcPct val="97000"/>
              </a:lnSpc>
              <a:spcBef>
                <a:spcPts val="0"/>
              </a:spcBef>
              <a:spcAft>
                <a:spcPts val="600"/>
              </a:spcAft>
              <a:buClr>
                <a:srgbClr val="0396AC"/>
              </a:buClr>
              <a:buSzPct val="100000"/>
              <a:defRPr/>
            </a:pP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Уровень трудоустройства </a:t>
            </a: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выпускников ВУЗ и </a:t>
            </a:r>
            <a:r>
              <a:rPr lang="ru-RU" sz="1400" dirty="0" err="1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ТиПО</a:t>
            </a: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снизился</a:t>
            </a: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на </a:t>
            </a:r>
            <a:r>
              <a:rPr lang="ru-RU" sz="1400" b="1" dirty="0" smtClean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3</a:t>
            </a:r>
            <a:r>
              <a:rPr lang="ru-RU" sz="1400" dirty="0" smtClean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%</a:t>
            </a:r>
            <a:endParaRPr lang="ru-RU" sz="1400" dirty="0">
              <a:solidFill>
                <a:srgbClr val="D9841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84" name="ee4pHeader1"/>
          <p:cNvSpPr txBox="1"/>
          <p:nvPr/>
        </p:nvSpPr>
        <p:spPr>
          <a:xfrm>
            <a:off x="8299245" y="726682"/>
            <a:ext cx="3522937" cy="492676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marL="0" lvl="3" algn="ctr"/>
            <a:r>
              <a:rPr lang="ru-RU" sz="15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Показатели трудоустройства выпускников учебных заведений</a:t>
            </a:r>
            <a:endParaRPr lang="ru-RU" sz="1500" b="1" dirty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98" name="Текст 2">
            <a:extLst>
              <a:ext uri="{FF2B5EF4-FFF2-40B4-BE49-F238E27FC236}">
                <a16:creationId xmlns:a16="http://schemas.microsoft.com/office/drawing/2014/main" id="{52F8D45E-116D-4625-8A14-E1EC2F457B0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933679" y="1868746"/>
            <a:ext cx="3429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en-US" sz="1400" b="1" dirty="0" smtClean="0">
                <a:solidFill>
                  <a:schemeClr val="bg1"/>
                </a:solidFill>
                <a:sym typeface="Trebuchet MS" panose="020B0603020202020204" pitchFamily="34" charset="0"/>
              </a:rPr>
              <a:t>70%</a:t>
            </a:r>
            <a:endParaRPr lang="en-US" altLang="en-US" sz="1400" b="1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52" name="Прямоугольник 5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/>
          </a:p>
        </p:txBody>
      </p:sp>
      <p:graphicFrame>
        <p:nvGraphicFramePr>
          <p:cNvPr id="78" name="Chart 3">
            <a:extLst>
              <a:ext uri="{FF2B5EF4-FFF2-40B4-BE49-F238E27FC236}">
                <a16:creationId xmlns:a16="http://schemas.microsoft.com/office/drawing/2014/main" id="{AE15068D-D217-47E6-872A-1879E2D517B2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02844158"/>
              </p:ext>
            </p:extLst>
          </p:nvPr>
        </p:nvGraphicFramePr>
        <p:xfrm>
          <a:off x="5164534" y="1439688"/>
          <a:ext cx="2349500" cy="224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97" name="ee4pHeader1">
            <a:extLst>
              <a:ext uri="{FF2B5EF4-FFF2-40B4-BE49-F238E27FC236}">
                <a16:creationId xmlns:a16="http://schemas.microsoft.com/office/drawing/2014/main" id="{5BEBA605-154B-4206-97EF-FBAC139B40F4}"/>
              </a:ext>
            </a:extLst>
          </p:cNvPr>
          <p:cNvSpPr txBox="1"/>
          <p:nvPr/>
        </p:nvSpPr>
        <p:spPr>
          <a:xfrm>
            <a:off x="4532343" y="767690"/>
            <a:ext cx="3680881" cy="55326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lvl="3" algn="ctr"/>
            <a:r>
              <a:rPr lang="ru-RU" sz="15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Опрос субъектов предпринимательства</a:t>
            </a:r>
            <a:endParaRPr lang="ru-RU" sz="1500" b="1" dirty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98" name="Прямоугольник 97">
            <a:extLst>
              <a:ext uri="{FF2B5EF4-FFF2-40B4-BE49-F238E27FC236}">
                <a16:creationId xmlns:a16="http://schemas.microsoft.com/office/drawing/2014/main" id="{CA551FEB-58DD-4D31-B88F-88DC06D6DEED}"/>
              </a:ext>
            </a:extLst>
          </p:cNvPr>
          <p:cNvSpPr/>
          <p:nvPr/>
        </p:nvSpPr>
        <p:spPr>
          <a:xfrm>
            <a:off x="4489921" y="3795726"/>
            <a:ext cx="3606800" cy="20718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 algn="just">
              <a:lnSpc>
                <a:spcPct val="97000"/>
              </a:lnSpc>
              <a:spcBef>
                <a:spcPts val="0"/>
              </a:spcBef>
              <a:spcAft>
                <a:spcPts val="800"/>
              </a:spcAft>
              <a:buClr>
                <a:schemeClr val="accent5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опрошено более </a:t>
            </a:r>
            <a:r>
              <a:rPr lang="ru-RU" sz="1400" b="1" kern="0" dirty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50,4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тыс. субъектов 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бизнеса</a:t>
            </a:r>
            <a:endParaRPr lang="ru-RU" sz="1400" b="1" kern="0" dirty="0" smtClean="0">
              <a:solidFill>
                <a:srgbClr val="D98410"/>
              </a:solidFill>
              <a:latin typeface="+mn-lt"/>
              <a:cs typeface="Arial" panose="020B0604020202020204" pitchFamily="34" charset="0"/>
            </a:endParaRPr>
          </a:p>
          <a:p>
            <a:pPr marL="285750" lvl="1" indent="-285750" algn="just">
              <a:lnSpc>
                <a:spcPct val="97000"/>
              </a:lnSpc>
              <a:spcBef>
                <a:spcPts val="0"/>
              </a:spcBef>
              <a:spcAft>
                <a:spcPts val="800"/>
              </a:spcAft>
              <a:buClr>
                <a:schemeClr val="accent5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ru-RU" sz="1400" b="1" kern="0" dirty="0" smtClean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84%</a:t>
            </a:r>
            <a:r>
              <a:rPr lang="ru-RU" sz="1400" kern="0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респондентов субъекты </a:t>
            </a:r>
            <a:r>
              <a:rPr lang="ru-RU" sz="1400" kern="0" dirty="0" err="1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микробизнеса</a:t>
            </a:r>
            <a:endParaRPr lang="ru-RU" sz="1400" kern="0" dirty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marL="285750" lvl="1" indent="-285750" algn="just">
              <a:lnSpc>
                <a:spcPct val="97000"/>
              </a:lnSpc>
              <a:spcBef>
                <a:spcPts val="0"/>
              </a:spcBef>
              <a:spcAft>
                <a:spcPts val="800"/>
              </a:spcAft>
              <a:buClr>
                <a:schemeClr val="accent5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ru-RU" sz="1400" b="1" kern="0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количество работников предприятий сократилось в среднем на </a:t>
            </a:r>
            <a:r>
              <a:rPr lang="ru-RU" sz="1400" b="1" kern="0" dirty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11</a:t>
            </a:r>
            <a:r>
              <a:rPr lang="ru-RU" sz="1400" kern="0" dirty="0" smtClean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%</a:t>
            </a:r>
          </a:p>
          <a:p>
            <a:pPr marL="285750" lvl="1" indent="-285750" algn="just">
              <a:lnSpc>
                <a:spcPct val="97000"/>
              </a:lnSpc>
              <a:spcBef>
                <a:spcPts val="0"/>
              </a:spcBef>
              <a:spcAft>
                <a:spcPts val="800"/>
              </a:spcAft>
              <a:buClr>
                <a:schemeClr val="accent5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ru-RU" sz="1400" b="1" kern="0" dirty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56</a:t>
            </a:r>
            <a:r>
              <a:rPr lang="ru-RU" sz="1400" kern="0" dirty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%</a:t>
            </a:r>
            <a:r>
              <a:rPr lang="ru-RU" sz="1400" b="1" kern="0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респондентов отмечают значительное сокращение доходов</a:t>
            </a:r>
          </a:p>
        </p:txBody>
      </p:sp>
      <p:sp>
        <p:nvSpPr>
          <p:cNvPr id="100" name="ee4pHeader1">
            <a:extLst>
              <a:ext uri="{FF2B5EF4-FFF2-40B4-BE49-F238E27FC236}">
                <a16:creationId xmlns:a16="http://schemas.microsoft.com/office/drawing/2014/main" id="{1F2D734E-17CB-4A0B-978C-737683635D72}"/>
              </a:ext>
            </a:extLst>
          </p:cNvPr>
          <p:cNvSpPr txBox="1"/>
          <p:nvPr/>
        </p:nvSpPr>
        <p:spPr>
          <a:xfrm>
            <a:off x="407773" y="805663"/>
            <a:ext cx="3859379" cy="50399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lvl="3"/>
            <a:r>
              <a:rPr lang="ru-RU" sz="15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Показатели занятости Бюро статистики</a:t>
            </a:r>
            <a:endParaRPr lang="ru-RU" sz="1500" b="1" dirty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101" name="Straight Connector 105">
            <a:extLst>
              <a:ext uri="{FF2B5EF4-FFF2-40B4-BE49-F238E27FC236}">
                <a16:creationId xmlns:a16="http://schemas.microsoft.com/office/drawing/2014/main" id="{CB85CA6B-EBA1-48E0-8EDF-5FB73B68CD4E}"/>
              </a:ext>
            </a:extLst>
          </p:cNvPr>
          <p:cNvCxnSpPr/>
          <p:nvPr/>
        </p:nvCxnSpPr>
        <p:spPr>
          <a:xfrm flipH="1" flipV="1">
            <a:off x="8206335" y="1046879"/>
            <a:ext cx="0" cy="4680000"/>
          </a:xfrm>
          <a:prstGeom prst="line">
            <a:avLst/>
          </a:prstGeom>
          <a:ln w="9525" cap="rnd" cmpd="sng" algn="ctr">
            <a:solidFill>
              <a:srgbClr val="D9841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2" name="Google Shape;11;p1">
            <a:extLst>
              <a:ext uri="{FF2B5EF4-FFF2-40B4-BE49-F238E27FC236}">
                <a16:creationId xmlns:a16="http://schemas.microsoft.com/office/drawing/2014/main" id="{9877CE75-DB62-47DB-AC33-5348D66839BA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899013" y="2581314"/>
            <a:ext cx="720000" cy="150813"/>
          </a:xfrm>
          <a:prstGeom prst="rect">
            <a:avLst/>
          </a:pr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1pPr>
            <a:lvl2pPr lvl="1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2pPr>
            <a:lvl3pPr lvl="2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3pPr>
            <a:lvl4pPr lvl="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4pPr>
            <a:lvl5pPr lvl="4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ru-RU" altLang="en-US" sz="1100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Trebuchet MS" panose="020B0603020202020204" pitchFamily="34" charset="0"/>
              </a:rPr>
              <a:t>2 099 </a:t>
            </a:r>
            <a:r>
              <a:rPr lang="ru-RU" altLang="en-US" sz="1000" dirty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Trebuchet MS" panose="020B0603020202020204" pitchFamily="34" charset="0"/>
              </a:rPr>
              <a:t>тыс.</a:t>
            </a:r>
            <a:endParaRPr lang="en-US" altLang="en-US" sz="1000" dirty="0">
              <a:solidFill>
                <a:schemeClr val="bg1"/>
              </a:solidFill>
              <a:latin typeface="+mn-lt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3" name="Google Shape;11;p1">
            <a:extLst>
              <a:ext uri="{FF2B5EF4-FFF2-40B4-BE49-F238E27FC236}">
                <a16:creationId xmlns:a16="http://schemas.microsoft.com/office/drawing/2014/main" id="{5F9DD67F-591E-4CBD-8477-6BD4F128866B}"/>
              </a:ext>
            </a:extLst>
          </p:cNvPr>
          <p:cNvSpPr txBox="1"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899013" y="2343624"/>
            <a:ext cx="720000" cy="150813"/>
          </a:xfrm>
          <a:prstGeom prst="rect">
            <a:avLst/>
          </a:pr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1pPr>
            <a:lvl2pPr lvl="1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2pPr>
            <a:lvl3pPr lvl="2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3pPr>
            <a:lvl4pPr lvl="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4pPr>
            <a:lvl5pPr lvl="4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ru-RU" altLang="en-US" sz="1100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Trebuchet MS" panose="020B0603020202020204" pitchFamily="34" charset="0"/>
              </a:rPr>
              <a:t>2 045 </a:t>
            </a:r>
            <a:r>
              <a:rPr lang="ru-RU" altLang="en-US" sz="1000" dirty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Trebuchet MS" panose="020B0603020202020204" pitchFamily="34" charset="0"/>
              </a:rPr>
              <a:t>тыс.</a:t>
            </a:r>
            <a:endParaRPr lang="en-US" altLang="en-US" sz="1000" dirty="0">
              <a:solidFill>
                <a:schemeClr val="bg1"/>
              </a:solidFill>
              <a:latin typeface="+mn-lt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4" name="Google Shape;11;p1">
            <a:extLst>
              <a:ext uri="{FF2B5EF4-FFF2-40B4-BE49-F238E27FC236}">
                <a16:creationId xmlns:a16="http://schemas.microsoft.com/office/drawing/2014/main" id="{9877CE75-DB62-47DB-AC33-5348D66839BA}"/>
              </a:ext>
            </a:extLst>
          </p:cNvPr>
          <p:cNvSpPr txBox="1"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616450" y="3261147"/>
            <a:ext cx="720000" cy="150813"/>
          </a:xfrm>
          <a:prstGeom prst="rect">
            <a:avLst/>
          </a:pr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1pPr>
            <a:lvl2pPr lvl="1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2pPr>
            <a:lvl3pPr lvl="2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3pPr>
            <a:lvl4pPr lvl="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4pPr>
            <a:lvl5pPr lvl="4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ru-RU" altLang="en-US" sz="1100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Trebuchet MS" panose="020B0603020202020204" pitchFamily="34" charset="0"/>
              </a:rPr>
              <a:t>6 681 </a:t>
            </a:r>
            <a:r>
              <a:rPr lang="ru-RU" altLang="en-US" sz="1000" dirty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Trebuchet MS" panose="020B0603020202020204" pitchFamily="34" charset="0"/>
              </a:rPr>
              <a:t>тыс.</a:t>
            </a:r>
            <a:endParaRPr lang="en-US" altLang="en-US" sz="1000" dirty="0">
              <a:solidFill>
                <a:schemeClr val="bg1"/>
              </a:solidFill>
              <a:latin typeface="+mn-lt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5" name="Google Shape;11;p1">
            <a:extLst>
              <a:ext uri="{FF2B5EF4-FFF2-40B4-BE49-F238E27FC236}">
                <a16:creationId xmlns:a16="http://schemas.microsoft.com/office/drawing/2014/main" id="{5F9DD67F-591E-4CBD-8477-6BD4F128866B}"/>
              </a:ext>
            </a:extLst>
          </p:cNvPr>
          <p:cNvSpPr txBox="1"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616450" y="3054210"/>
            <a:ext cx="720000" cy="150813"/>
          </a:xfrm>
          <a:prstGeom prst="rect">
            <a:avLst/>
          </a:pr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1pPr>
            <a:lvl2pPr lvl="1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2pPr>
            <a:lvl3pPr lvl="2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3pPr>
            <a:lvl4pPr lvl="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4pPr>
            <a:lvl5pPr lvl="4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ru-RU" altLang="en-US" sz="1000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Trebuchet MS" panose="020B0603020202020204" pitchFamily="34" charset="0"/>
              </a:rPr>
              <a:t>6 686тыс</a:t>
            </a:r>
            <a:r>
              <a:rPr lang="ru-RU" altLang="en-US" sz="1000" dirty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Trebuchet MS" panose="020B0603020202020204" pitchFamily="34" charset="0"/>
              </a:rPr>
              <a:t>.</a:t>
            </a:r>
            <a:endParaRPr lang="en-US" altLang="en-US" sz="1000" dirty="0">
              <a:solidFill>
                <a:schemeClr val="bg1"/>
              </a:solidFill>
              <a:latin typeface="+mn-lt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9286F675-20DE-4EB9-A9B7-5C7663489EC8}"/>
              </a:ext>
            </a:extLst>
          </p:cNvPr>
          <p:cNvSpPr/>
          <p:nvPr/>
        </p:nvSpPr>
        <p:spPr>
          <a:xfrm>
            <a:off x="2688530" y="2341419"/>
            <a:ext cx="468313" cy="160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i="1" dirty="0" smtClean="0">
                <a:solidFill>
                  <a:srgbClr val="C00000"/>
                </a:solidFill>
                <a:cs typeface="Arial" panose="020B0604020202020204" pitchFamily="34" charset="0"/>
              </a:rPr>
              <a:t>-2,6%</a:t>
            </a:r>
            <a:endParaRPr lang="ru-RU" sz="1200" b="1" i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102" name="Прямоугольник 101">
            <a:extLst>
              <a:ext uri="{FF2B5EF4-FFF2-40B4-BE49-F238E27FC236}">
                <a16:creationId xmlns:a16="http://schemas.microsoft.com/office/drawing/2014/main" id="{9286F675-20DE-4EB9-A9B7-5C7663489EC8}"/>
              </a:ext>
            </a:extLst>
          </p:cNvPr>
          <p:cNvSpPr/>
          <p:nvPr/>
        </p:nvSpPr>
        <p:spPr>
          <a:xfrm>
            <a:off x="2469204" y="1538013"/>
            <a:ext cx="659751" cy="2089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i="1" dirty="0" smtClean="0">
                <a:solidFill>
                  <a:srgbClr val="C00000"/>
                </a:solidFill>
                <a:cs typeface="Arial" panose="020B0604020202020204" pitchFamily="34" charset="0"/>
              </a:rPr>
              <a:t>+0,1 </a:t>
            </a:r>
            <a:r>
              <a:rPr lang="ru-RU" sz="1200" b="1" i="1" dirty="0" err="1" smtClean="0">
                <a:solidFill>
                  <a:srgbClr val="C00000"/>
                </a:solidFill>
                <a:cs typeface="Arial" panose="020B0604020202020204" pitchFamily="34" charset="0"/>
              </a:rPr>
              <a:t>п.п</a:t>
            </a:r>
            <a:r>
              <a:rPr lang="ru-RU" sz="1200" b="1" i="1" dirty="0" smtClean="0">
                <a:solidFill>
                  <a:srgbClr val="C00000"/>
                </a:solidFill>
                <a:cs typeface="Arial" panose="020B0604020202020204" pitchFamily="34" charset="0"/>
              </a:rPr>
              <a:t>.</a:t>
            </a:r>
            <a:endParaRPr lang="ru-RU" sz="1200" b="1" i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103" name="Диаграмма 10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8835900"/>
              </p:ext>
            </p:extLst>
          </p:nvPr>
        </p:nvGraphicFramePr>
        <p:xfrm>
          <a:off x="4234569" y="1488180"/>
          <a:ext cx="3586454" cy="2297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105" name="Straight Connector 105"/>
          <p:cNvCxnSpPr/>
          <p:nvPr/>
        </p:nvCxnSpPr>
        <p:spPr>
          <a:xfrm flipV="1">
            <a:off x="4590489" y="1310110"/>
            <a:ext cx="3433056" cy="1891"/>
          </a:xfrm>
          <a:prstGeom prst="line">
            <a:avLst/>
          </a:prstGeom>
          <a:ln w="28575" cap="rnd" cmpd="sng" algn="ctr">
            <a:solidFill>
              <a:srgbClr val="D98410"/>
            </a:solidFill>
            <a:prstDash val="sysDot"/>
            <a:round/>
            <a:headEnd type="none" w="med" len="med"/>
            <a:tailEnd type="none" w="med" len="med"/>
          </a:ln>
        </p:spPr>
      </p:cxnSp>
      <p:sp>
        <p:nvSpPr>
          <p:cNvPr id="107" name="Скругленный прямоугольник 106"/>
          <p:cNvSpPr/>
          <p:nvPr/>
        </p:nvSpPr>
        <p:spPr>
          <a:xfrm>
            <a:off x="8796212" y="2903347"/>
            <a:ext cx="1800000" cy="47827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0" name="Текст 2">
            <a:extLst>
              <a:ext uri="{FF2B5EF4-FFF2-40B4-BE49-F238E27FC236}">
                <a16:creationId xmlns:a16="http://schemas.microsoft.com/office/drawing/2014/main" id="{52F8D45E-116D-4625-8A14-E1EC2F457B0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315008" y="2428848"/>
            <a:ext cx="480694" cy="151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en-US" sz="1400" b="1" dirty="0" smtClean="0">
                <a:solidFill>
                  <a:schemeClr val="bg1"/>
                </a:solidFill>
                <a:sym typeface="Trebuchet MS" panose="020B0603020202020204" pitchFamily="34" charset="0"/>
              </a:rPr>
              <a:t>74%</a:t>
            </a:r>
            <a:endParaRPr lang="en-US" altLang="en-US" sz="1400" b="1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111" name="Текст 2">
            <a:extLst>
              <a:ext uri="{FF2B5EF4-FFF2-40B4-BE49-F238E27FC236}">
                <a16:creationId xmlns:a16="http://schemas.microsoft.com/office/drawing/2014/main" id="{52F8D45E-116D-4625-8A14-E1EC2F457B0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083831" y="3026692"/>
            <a:ext cx="3429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en-US" sz="1400" b="1" dirty="0" smtClean="0">
                <a:solidFill>
                  <a:schemeClr val="bg1"/>
                </a:solidFill>
                <a:sym typeface="Trebuchet MS" panose="020B0603020202020204" pitchFamily="34" charset="0"/>
              </a:rPr>
              <a:t>71%</a:t>
            </a:r>
            <a:endParaRPr lang="en-US" altLang="en-US" sz="1400" b="1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112" name="Прямоугольник 111">
            <a:extLst>
              <a:ext uri="{FF2B5EF4-FFF2-40B4-BE49-F238E27FC236}">
                <a16:creationId xmlns:a16="http://schemas.microsoft.com/office/drawing/2014/main" id="{9286F675-20DE-4EB9-A9B7-5C7663489EC8}"/>
              </a:ext>
            </a:extLst>
          </p:cNvPr>
          <p:cNvSpPr/>
          <p:nvPr/>
        </p:nvSpPr>
        <p:spPr>
          <a:xfrm>
            <a:off x="10591244" y="3090466"/>
            <a:ext cx="468313" cy="160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i="1" dirty="0" smtClean="0">
                <a:solidFill>
                  <a:srgbClr val="C00000"/>
                </a:solidFill>
                <a:cs typeface="Arial" panose="020B0604020202020204" pitchFamily="34" charset="0"/>
              </a:rPr>
              <a:t>-3%</a:t>
            </a:r>
            <a:endParaRPr lang="ru-RU" sz="1200" b="1" i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4" name="Овал 3"/>
          <p:cNvSpPr/>
          <p:nvPr/>
        </p:nvSpPr>
        <p:spPr>
          <a:xfrm>
            <a:off x="8821253" y="1713065"/>
            <a:ext cx="504000" cy="504000"/>
          </a:xfrm>
          <a:prstGeom prst="ellipse">
            <a:avLst/>
          </a:prstGeom>
          <a:solidFill>
            <a:schemeClr val="bg1"/>
          </a:solidFill>
          <a:ln w="38100">
            <a:solidFill>
              <a:srgbClr val="D9841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288" name="Текст 2">
            <a:extLst>
              <a:ext uri="{FF2B5EF4-FFF2-40B4-BE49-F238E27FC236}">
                <a16:creationId xmlns:a16="http://schemas.microsoft.com/office/drawing/2014/main" id="{52F8D45E-116D-4625-8A14-E1EC2F457B0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939825" y="1891775"/>
            <a:ext cx="3429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F0EDAEA-9927-41F7-BB67-99EDBDD5633F}" type="datetime'''''''''''2''0''''''''''''''''''''''''''''''1''8'">
              <a:rPr lang="en-US" altLang="en-US" sz="1050" b="1" smtClean="0"/>
              <a:pPr/>
              <a:t>2018</a:t>
            </a:fld>
            <a:r>
              <a:rPr lang="ru-RU" altLang="en-US" sz="1050" b="1" dirty="0" smtClean="0"/>
              <a:t>г. </a:t>
            </a:r>
            <a:endParaRPr lang="en-US" altLang="en-US" sz="1050" b="1" dirty="0">
              <a:sym typeface="Trebuchet MS" panose="020B0603020202020204" pitchFamily="34" charset="0"/>
            </a:endParaRPr>
          </a:p>
        </p:txBody>
      </p:sp>
      <p:sp>
        <p:nvSpPr>
          <p:cNvPr id="113" name="Овал 112"/>
          <p:cNvSpPr/>
          <p:nvPr/>
        </p:nvSpPr>
        <p:spPr>
          <a:xfrm>
            <a:off x="8817706" y="2284488"/>
            <a:ext cx="504000" cy="504000"/>
          </a:xfrm>
          <a:prstGeom prst="ellipse">
            <a:avLst/>
          </a:prstGeom>
          <a:solidFill>
            <a:schemeClr val="bg1"/>
          </a:solidFill>
          <a:ln w="38100">
            <a:solidFill>
              <a:srgbClr val="D9841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114" name="Текст 2">
            <a:extLst>
              <a:ext uri="{FF2B5EF4-FFF2-40B4-BE49-F238E27FC236}">
                <a16:creationId xmlns:a16="http://schemas.microsoft.com/office/drawing/2014/main" id="{52F8D45E-116D-4625-8A14-E1EC2F457B0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936278" y="2463198"/>
            <a:ext cx="3429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en-US" sz="1050" b="1" dirty="0" smtClean="0"/>
              <a:t>2019г. </a:t>
            </a:r>
            <a:endParaRPr lang="en-US" altLang="en-US" sz="1050" b="1" dirty="0">
              <a:sym typeface="Trebuchet MS" panose="020B0603020202020204" pitchFamily="34" charset="0"/>
            </a:endParaRPr>
          </a:p>
        </p:txBody>
      </p:sp>
      <p:sp>
        <p:nvSpPr>
          <p:cNvPr id="115" name="Овал 114"/>
          <p:cNvSpPr/>
          <p:nvPr/>
        </p:nvSpPr>
        <p:spPr>
          <a:xfrm>
            <a:off x="8817706" y="2890486"/>
            <a:ext cx="504000" cy="504000"/>
          </a:xfrm>
          <a:prstGeom prst="ellipse">
            <a:avLst/>
          </a:prstGeom>
          <a:solidFill>
            <a:schemeClr val="bg1"/>
          </a:solidFill>
          <a:ln w="38100">
            <a:solidFill>
              <a:srgbClr val="D9841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116" name="Текст 2">
            <a:extLst>
              <a:ext uri="{FF2B5EF4-FFF2-40B4-BE49-F238E27FC236}">
                <a16:creationId xmlns:a16="http://schemas.microsoft.com/office/drawing/2014/main" id="{52F8D45E-116D-4625-8A14-E1EC2F457B0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936278" y="3069196"/>
            <a:ext cx="3429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en-US" sz="1050" b="1" dirty="0" smtClean="0"/>
              <a:t>2020г. </a:t>
            </a:r>
            <a:endParaRPr lang="en-US" altLang="en-US" sz="1050" b="1" dirty="0">
              <a:sym typeface="Trebuchet MS" panose="020B0603020202020204" pitchFamily="34" charset="0"/>
            </a:endParaRPr>
          </a:p>
        </p:txBody>
      </p:sp>
      <p:sp>
        <p:nvSpPr>
          <p:cNvPr id="117" name="ee4pHeader1">
            <a:extLst>
              <a:ext uri="{FF2B5EF4-FFF2-40B4-BE49-F238E27FC236}">
                <a16:creationId xmlns:a16="http://schemas.microsoft.com/office/drawing/2014/main" id="{5BEBA605-154B-4206-97EF-FBAC139B40F4}"/>
              </a:ext>
            </a:extLst>
          </p:cNvPr>
          <p:cNvSpPr txBox="1"/>
          <p:nvPr/>
        </p:nvSpPr>
        <p:spPr>
          <a:xfrm>
            <a:off x="286803" y="1747000"/>
            <a:ext cx="893532" cy="227286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lvl="3"/>
            <a:r>
              <a:rPr lang="ru-RU" sz="1000" b="1" dirty="0" smtClean="0">
                <a:solidFill>
                  <a:schemeClr val="bg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Безработные</a:t>
            </a:r>
            <a:endParaRPr lang="ru-RU" sz="1000" b="1" dirty="0">
              <a:solidFill>
                <a:schemeClr val="bg2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18" name="ee4pHeader1">
            <a:extLst>
              <a:ext uri="{FF2B5EF4-FFF2-40B4-BE49-F238E27FC236}">
                <a16:creationId xmlns:a16="http://schemas.microsoft.com/office/drawing/2014/main" id="{5BEBA605-154B-4206-97EF-FBAC139B40F4}"/>
              </a:ext>
            </a:extLst>
          </p:cNvPr>
          <p:cNvSpPr txBox="1"/>
          <p:nvPr/>
        </p:nvSpPr>
        <p:spPr>
          <a:xfrm>
            <a:off x="288205" y="2434126"/>
            <a:ext cx="897249" cy="227286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lvl="3"/>
            <a:r>
              <a:rPr lang="ru-RU" sz="1000" b="1" dirty="0" err="1" smtClean="0">
                <a:solidFill>
                  <a:schemeClr val="bg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Самозанятые</a:t>
            </a:r>
            <a:endParaRPr lang="ru-RU" sz="1000" b="1" dirty="0">
              <a:solidFill>
                <a:schemeClr val="bg2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19" name="ee4pHeader1">
            <a:extLst>
              <a:ext uri="{FF2B5EF4-FFF2-40B4-BE49-F238E27FC236}">
                <a16:creationId xmlns:a16="http://schemas.microsoft.com/office/drawing/2014/main" id="{5BEBA605-154B-4206-97EF-FBAC139B40F4}"/>
              </a:ext>
            </a:extLst>
          </p:cNvPr>
          <p:cNvSpPr txBox="1"/>
          <p:nvPr/>
        </p:nvSpPr>
        <p:spPr>
          <a:xfrm>
            <a:off x="318852" y="3091380"/>
            <a:ext cx="897249" cy="227286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lvl="3"/>
            <a:r>
              <a:rPr lang="ru-RU" sz="1000" b="1" dirty="0" smtClean="0">
                <a:solidFill>
                  <a:schemeClr val="bg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Наемные работники</a:t>
            </a:r>
            <a:endParaRPr lang="ru-RU" sz="1000" b="1" dirty="0">
              <a:solidFill>
                <a:schemeClr val="bg2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616450" y="6390201"/>
            <a:ext cx="7153018" cy="3162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 algn="just">
              <a:lnSpc>
                <a:spcPct val="97000"/>
              </a:lnSpc>
              <a:spcBef>
                <a:spcPts val="0"/>
              </a:spcBef>
              <a:spcAft>
                <a:spcPts val="600"/>
              </a:spcAft>
              <a:buClr>
                <a:schemeClr val="accent5">
                  <a:lumMod val="50000"/>
                </a:schemeClr>
              </a:buClr>
              <a:buSzPct val="100000"/>
              <a:buFont typeface="Wingdings" panose="05000000000000000000" pitchFamily="2" charset="2"/>
              <a:buChar char="Ø"/>
              <a:defRPr/>
            </a:pPr>
            <a:r>
              <a:rPr lang="ru-RU" sz="15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4,6 млн. человек </a:t>
            </a:r>
            <a:r>
              <a:rPr lang="ru-RU" sz="1500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п</a:t>
            </a:r>
            <a:r>
              <a:rPr lang="ru-RU" sz="15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олучили </a:t>
            </a:r>
            <a:r>
              <a:rPr lang="ru-RU" sz="1500" b="1" dirty="0" err="1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соцвыплата</a:t>
            </a:r>
            <a:r>
              <a:rPr lang="ru-RU" sz="15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42 500</a:t>
            </a:r>
            <a:r>
              <a:rPr lang="ru-RU" sz="1500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в период ЧП и </a:t>
            </a:r>
            <a:r>
              <a:rPr lang="ru-RU" sz="1500" dirty="0" err="1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локдауна</a:t>
            </a:r>
            <a:endParaRPr lang="ru-RU" sz="1500" dirty="0" smtClean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120" name="Прямая соединительная линия 119">
            <a:extLst>
              <a:ext uri="{FF2B5EF4-FFF2-40B4-BE49-F238E27FC236}">
                <a16:creationId xmlns:a16="http://schemas.microsoft.com/office/drawing/2014/main" id="{A4CBE7B0-D243-4EA5-9E6F-A92A218B7825}"/>
              </a:ext>
            </a:extLst>
          </p:cNvPr>
          <p:cNvCxnSpPr>
            <a:cxnSpLocks/>
          </p:cNvCxnSpPr>
          <p:nvPr/>
        </p:nvCxnSpPr>
        <p:spPr>
          <a:xfrm>
            <a:off x="2425468" y="6346709"/>
            <a:ext cx="7344000" cy="0"/>
          </a:xfrm>
          <a:prstGeom prst="line">
            <a:avLst/>
          </a:prstGeom>
          <a:ln>
            <a:solidFill>
              <a:srgbClr val="D98410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1" name="Прямая соединительная линия 120">
            <a:extLst>
              <a:ext uri="{FF2B5EF4-FFF2-40B4-BE49-F238E27FC236}">
                <a16:creationId xmlns:a16="http://schemas.microsoft.com/office/drawing/2014/main" id="{A4CBE7B0-D243-4EA5-9E6F-A92A218B7825}"/>
              </a:ext>
            </a:extLst>
          </p:cNvPr>
          <p:cNvCxnSpPr>
            <a:cxnSpLocks/>
          </p:cNvCxnSpPr>
          <p:nvPr/>
        </p:nvCxnSpPr>
        <p:spPr>
          <a:xfrm>
            <a:off x="2469033" y="6748423"/>
            <a:ext cx="7344000" cy="0"/>
          </a:xfrm>
          <a:prstGeom prst="line">
            <a:avLst/>
          </a:prstGeom>
          <a:ln>
            <a:solidFill>
              <a:srgbClr val="D98410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2" name="Прямая соединительная линия 121">
            <a:extLst>
              <a:ext uri="{FF2B5EF4-FFF2-40B4-BE49-F238E27FC236}">
                <a16:creationId xmlns:a16="http://schemas.microsoft.com/office/drawing/2014/main" id="{8E88E2E3-2C0D-4282-9D18-5B8F5F9606E1}"/>
              </a:ext>
            </a:extLst>
          </p:cNvPr>
          <p:cNvCxnSpPr>
            <a:cxnSpLocks/>
          </p:cNvCxnSpPr>
          <p:nvPr/>
        </p:nvCxnSpPr>
        <p:spPr>
          <a:xfrm flipV="1">
            <a:off x="203215" y="66188"/>
            <a:ext cx="0" cy="549762"/>
          </a:xfrm>
          <a:prstGeom prst="line">
            <a:avLst/>
          </a:prstGeom>
          <a:ln w="76200">
            <a:solidFill>
              <a:srgbClr val="D984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3900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84656" y="141361"/>
            <a:ext cx="11377803" cy="542925"/>
          </a:xfrm>
        </p:spPr>
        <p:txBody>
          <a:bodyPr/>
          <a:lstStyle/>
          <a:p>
            <a:r>
              <a:rPr lang="ru-RU" sz="20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ПСИХОЛОГИЧЕСКАЯ ПОМОЩЬ НАСЕЛЕНИЮ И ПРОФОРИЕНТАЦИОННАЯ РАБОТА ЗА 2019 - 2020 ГОДЫ</a:t>
            </a:r>
            <a:endParaRPr lang="en-US" sz="2000" b="1" dirty="0">
              <a:solidFill>
                <a:schemeClr val="accent5">
                  <a:lumMod val="5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2" name="Группа 21"/>
          <p:cNvGrpSpPr/>
          <p:nvPr/>
        </p:nvGrpSpPr>
        <p:grpSpPr>
          <a:xfrm>
            <a:off x="510374" y="3022921"/>
            <a:ext cx="5173640" cy="2013804"/>
            <a:chOff x="468069" y="4101948"/>
            <a:chExt cx="5173640" cy="2013804"/>
          </a:xfrm>
        </p:grpSpPr>
        <p:sp>
          <p:nvSpPr>
            <p:cNvPr id="39" name="Скругленный прямоугольник 38"/>
            <p:cNvSpPr/>
            <p:nvPr/>
          </p:nvSpPr>
          <p:spPr>
            <a:xfrm>
              <a:off x="2136708" y="4606004"/>
              <a:ext cx="2695080" cy="610890"/>
            </a:xfrm>
            <a:prstGeom prst="round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Полилиния 39"/>
            <p:cNvSpPr/>
            <p:nvPr/>
          </p:nvSpPr>
          <p:spPr>
            <a:xfrm>
              <a:off x="1416628" y="4101948"/>
              <a:ext cx="666249" cy="720000"/>
            </a:xfrm>
            <a:custGeom>
              <a:avLst/>
              <a:gdLst>
                <a:gd name="connsiteX0" fmla="*/ 144003 w 666249"/>
                <a:gd name="connsiteY0" fmla="*/ 0 h 864000"/>
                <a:gd name="connsiteX1" fmla="*/ 524603 w 666249"/>
                <a:gd name="connsiteY1" fmla="*/ 0 h 864000"/>
                <a:gd name="connsiteX2" fmla="*/ 543284 w 666249"/>
                <a:gd name="connsiteY2" fmla="*/ 22642 h 864000"/>
                <a:gd name="connsiteX3" fmla="*/ 666249 w 666249"/>
                <a:gd name="connsiteY3" fmla="*/ 425201 h 864000"/>
                <a:gd name="connsiteX4" fmla="*/ 543284 w 666249"/>
                <a:gd name="connsiteY4" fmla="*/ 827760 h 864000"/>
                <a:gd name="connsiteX5" fmla="*/ 513384 w 666249"/>
                <a:gd name="connsiteY5" fmla="*/ 864000 h 864000"/>
                <a:gd name="connsiteX6" fmla="*/ 144003 w 666249"/>
                <a:gd name="connsiteY6" fmla="*/ 864000 h 864000"/>
                <a:gd name="connsiteX7" fmla="*/ 0 w 666249"/>
                <a:gd name="connsiteY7" fmla="*/ 719997 h 864000"/>
                <a:gd name="connsiteX8" fmla="*/ 0 w 666249"/>
                <a:gd name="connsiteY8" fmla="*/ 144003 h 864000"/>
                <a:gd name="connsiteX9" fmla="*/ 144003 w 666249"/>
                <a:gd name="connsiteY9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249" h="864000">
                  <a:moveTo>
                    <a:pt x="144003" y="0"/>
                  </a:moveTo>
                  <a:lnTo>
                    <a:pt x="524603" y="0"/>
                  </a:lnTo>
                  <a:lnTo>
                    <a:pt x="543284" y="22642"/>
                  </a:lnTo>
                  <a:cubicBezTo>
                    <a:pt x="620918" y="137555"/>
                    <a:pt x="666249" y="276084"/>
                    <a:pt x="666249" y="425201"/>
                  </a:cubicBezTo>
                  <a:cubicBezTo>
                    <a:pt x="666249" y="574318"/>
                    <a:pt x="620918" y="712847"/>
                    <a:pt x="543284" y="827760"/>
                  </a:cubicBezTo>
                  <a:lnTo>
                    <a:pt x="513384" y="864000"/>
                  </a:lnTo>
                  <a:lnTo>
                    <a:pt x="144003" y="864000"/>
                  </a:lnTo>
                  <a:cubicBezTo>
                    <a:pt x="64472" y="864000"/>
                    <a:pt x="0" y="799528"/>
                    <a:pt x="0" y="719997"/>
                  </a:cubicBezTo>
                  <a:lnTo>
                    <a:pt x="0" y="144003"/>
                  </a:lnTo>
                  <a:cubicBezTo>
                    <a:pt x="0" y="64472"/>
                    <a:pt x="64472" y="0"/>
                    <a:pt x="14400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Полилиния 40"/>
            <p:cNvSpPr/>
            <p:nvPr/>
          </p:nvSpPr>
          <p:spPr>
            <a:xfrm>
              <a:off x="1930011" y="4101948"/>
              <a:ext cx="3033346" cy="720000"/>
            </a:xfrm>
            <a:custGeom>
              <a:avLst/>
              <a:gdLst>
                <a:gd name="connsiteX0" fmla="*/ 11219 w 4526616"/>
                <a:gd name="connsiteY0" fmla="*/ 0 h 864000"/>
                <a:gd name="connsiteX1" fmla="*/ 4382613 w 4526616"/>
                <a:gd name="connsiteY1" fmla="*/ 0 h 864000"/>
                <a:gd name="connsiteX2" fmla="*/ 4526616 w 4526616"/>
                <a:gd name="connsiteY2" fmla="*/ 144003 h 864000"/>
                <a:gd name="connsiteX3" fmla="*/ 4526616 w 4526616"/>
                <a:gd name="connsiteY3" fmla="*/ 719997 h 864000"/>
                <a:gd name="connsiteX4" fmla="*/ 4382613 w 4526616"/>
                <a:gd name="connsiteY4" fmla="*/ 864000 h 864000"/>
                <a:gd name="connsiteX5" fmla="*/ 0 w 4526616"/>
                <a:gd name="connsiteY5" fmla="*/ 864000 h 864000"/>
                <a:gd name="connsiteX6" fmla="*/ 29900 w 4526616"/>
                <a:gd name="connsiteY6" fmla="*/ 827760 h 864000"/>
                <a:gd name="connsiteX7" fmla="*/ 152865 w 4526616"/>
                <a:gd name="connsiteY7" fmla="*/ 425201 h 864000"/>
                <a:gd name="connsiteX8" fmla="*/ 29900 w 4526616"/>
                <a:gd name="connsiteY8" fmla="*/ 22642 h 864000"/>
                <a:gd name="connsiteX9" fmla="*/ 11219 w 4526616"/>
                <a:gd name="connsiteY9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26616" h="864000">
                  <a:moveTo>
                    <a:pt x="11219" y="0"/>
                  </a:moveTo>
                  <a:lnTo>
                    <a:pt x="4382613" y="0"/>
                  </a:lnTo>
                  <a:cubicBezTo>
                    <a:pt x="4462144" y="0"/>
                    <a:pt x="4526616" y="64472"/>
                    <a:pt x="4526616" y="144003"/>
                  </a:cubicBezTo>
                  <a:lnTo>
                    <a:pt x="4526616" y="719997"/>
                  </a:lnTo>
                  <a:cubicBezTo>
                    <a:pt x="4526616" y="799528"/>
                    <a:pt x="4462144" y="864000"/>
                    <a:pt x="4382613" y="864000"/>
                  </a:cubicBezTo>
                  <a:lnTo>
                    <a:pt x="0" y="864000"/>
                  </a:lnTo>
                  <a:lnTo>
                    <a:pt x="29900" y="827760"/>
                  </a:lnTo>
                  <a:cubicBezTo>
                    <a:pt x="107534" y="712847"/>
                    <a:pt x="152865" y="574318"/>
                    <a:pt x="152865" y="425201"/>
                  </a:cubicBezTo>
                  <a:cubicBezTo>
                    <a:pt x="152865" y="276084"/>
                    <a:pt x="107534" y="137555"/>
                    <a:pt x="29900" y="22642"/>
                  </a:cubicBezTo>
                  <a:lnTo>
                    <a:pt x="11219" y="0"/>
                  </a:lnTo>
                  <a:close/>
                </a:path>
              </a:pathLst>
            </a:custGeom>
            <a:solidFill>
              <a:srgbClr val="EAB200"/>
            </a:solidFill>
            <a:ln>
              <a:solidFill>
                <a:schemeClr val="bg1"/>
              </a:solidFill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2110697" y="4168177"/>
              <a:ext cx="2852660" cy="61555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2000" b="1" dirty="0" smtClean="0">
                  <a:solidFill>
                    <a:srgbClr val="003462"/>
                  </a:solidFill>
                  <a:latin typeface="+mn-lt"/>
                  <a:ea typeface="Calibri" panose="020F0502020204030204" pitchFamily="34" charset="0"/>
                </a:rPr>
                <a:t>16,5 </a:t>
              </a:r>
              <a:r>
                <a:rPr lang="ru-RU" sz="1400" b="1" dirty="0" smtClean="0">
                  <a:solidFill>
                    <a:srgbClr val="003462"/>
                  </a:solidFill>
                  <a:latin typeface="+mn-lt"/>
                  <a:ea typeface="Calibri" panose="020F0502020204030204" pitchFamily="34" charset="0"/>
                </a:rPr>
                <a:t>тыс. </a:t>
              </a:r>
              <a:r>
                <a:rPr lang="ru-RU" sz="1400" b="1" dirty="0">
                  <a:solidFill>
                    <a:srgbClr val="003462"/>
                  </a:solidFill>
                  <a:latin typeface="+mn-lt"/>
                  <a:ea typeface="Calibri" panose="020F0502020204030204" pitchFamily="34" charset="0"/>
                </a:rPr>
                <a:t>человек </a:t>
              </a:r>
              <a:r>
                <a:rPr lang="ru-RU" sz="1400" dirty="0" smtClean="0">
                  <a:solidFill>
                    <a:srgbClr val="003462"/>
                  </a:solidFill>
                  <a:latin typeface="+mn-lt"/>
                  <a:ea typeface="Calibri" panose="020F0502020204030204" pitchFamily="34" charset="0"/>
                </a:rPr>
                <a:t>прошли психологическое тестирование</a:t>
              </a:r>
              <a:endParaRPr lang="en-US" sz="1400" dirty="0">
                <a:solidFill>
                  <a:srgbClr val="003462"/>
                </a:solidFill>
                <a:latin typeface="+mn-lt"/>
              </a:endParaRPr>
            </a:p>
          </p:txBody>
        </p:sp>
        <p:pic>
          <p:nvPicPr>
            <p:cNvPr id="43" name="Рисунок 42"/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61373" y="4185096"/>
              <a:ext cx="500919" cy="500919"/>
            </a:xfrm>
            <a:prstGeom prst="rect">
              <a:avLst/>
            </a:prstGeom>
          </p:spPr>
        </p:pic>
        <p:sp>
          <p:nvSpPr>
            <p:cNvPr id="44" name="Полилиния 43"/>
            <p:cNvSpPr/>
            <p:nvPr/>
          </p:nvSpPr>
          <p:spPr>
            <a:xfrm>
              <a:off x="468069" y="5395752"/>
              <a:ext cx="666249" cy="720000"/>
            </a:xfrm>
            <a:custGeom>
              <a:avLst/>
              <a:gdLst>
                <a:gd name="connsiteX0" fmla="*/ 144003 w 666249"/>
                <a:gd name="connsiteY0" fmla="*/ 0 h 864000"/>
                <a:gd name="connsiteX1" fmla="*/ 524603 w 666249"/>
                <a:gd name="connsiteY1" fmla="*/ 0 h 864000"/>
                <a:gd name="connsiteX2" fmla="*/ 543284 w 666249"/>
                <a:gd name="connsiteY2" fmla="*/ 22642 h 864000"/>
                <a:gd name="connsiteX3" fmla="*/ 666249 w 666249"/>
                <a:gd name="connsiteY3" fmla="*/ 425201 h 864000"/>
                <a:gd name="connsiteX4" fmla="*/ 543284 w 666249"/>
                <a:gd name="connsiteY4" fmla="*/ 827760 h 864000"/>
                <a:gd name="connsiteX5" fmla="*/ 513384 w 666249"/>
                <a:gd name="connsiteY5" fmla="*/ 864000 h 864000"/>
                <a:gd name="connsiteX6" fmla="*/ 144003 w 666249"/>
                <a:gd name="connsiteY6" fmla="*/ 864000 h 864000"/>
                <a:gd name="connsiteX7" fmla="*/ 0 w 666249"/>
                <a:gd name="connsiteY7" fmla="*/ 719997 h 864000"/>
                <a:gd name="connsiteX8" fmla="*/ 0 w 666249"/>
                <a:gd name="connsiteY8" fmla="*/ 144003 h 864000"/>
                <a:gd name="connsiteX9" fmla="*/ 144003 w 666249"/>
                <a:gd name="connsiteY9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249" h="864000">
                  <a:moveTo>
                    <a:pt x="144003" y="0"/>
                  </a:moveTo>
                  <a:lnTo>
                    <a:pt x="524603" y="0"/>
                  </a:lnTo>
                  <a:lnTo>
                    <a:pt x="543284" y="22642"/>
                  </a:lnTo>
                  <a:cubicBezTo>
                    <a:pt x="620918" y="137555"/>
                    <a:pt x="666249" y="276084"/>
                    <a:pt x="666249" y="425201"/>
                  </a:cubicBezTo>
                  <a:cubicBezTo>
                    <a:pt x="666249" y="574318"/>
                    <a:pt x="620918" y="712847"/>
                    <a:pt x="543284" y="827760"/>
                  </a:cubicBezTo>
                  <a:lnTo>
                    <a:pt x="513384" y="864000"/>
                  </a:lnTo>
                  <a:lnTo>
                    <a:pt x="144003" y="864000"/>
                  </a:lnTo>
                  <a:cubicBezTo>
                    <a:pt x="64472" y="864000"/>
                    <a:pt x="0" y="799528"/>
                    <a:pt x="0" y="719997"/>
                  </a:cubicBezTo>
                  <a:lnTo>
                    <a:pt x="0" y="144003"/>
                  </a:lnTo>
                  <a:cubicBezTo>
                    <a:pt x="0" y="64472"/>
                    <a:pt x="64472" y="0"/>
                    <a:pt x="14400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Полилиния 44"/>
            <p:cNvSpPr/>
            <p:nvPr/>
          </p:nvSpPr>
          <p:spPr>
            <a:xfrm>
              <a:off x="981452" y="5395752"/>
              <a:ext cx="2027439" cy="720000"/>
            </a:xfrm>
            <a:custGeom>
              <a:avLst/>
              <a:gdLst>
                <a:gd name="connsiteX0" fmla="*/ 11219 w 4526616"/>
                <a:gd name="connsiteY0" fmla="*/ 0 h 864000"/>
                <a:gd name="connsiteX1" fmla="*/ 4382613 w 4526616"/>
                <a:gd name="connsiteY1" fmla="*/ 0 h 864000"/>
                <a:gd name="connsiteX2" fmla="*/ 4526616 w 4526616"/>
                <a:gd name="connsiteY2" fmla="*/ 144003 h 864000"/>
                <a:gd name="connsiteX3" fmla="*/ 4526616 w 4526616"/>
                <a:gd name="connsiteY3" fmla="*/ 719997 h 864000"/>
                <a:gd name="connsiteX4" fmla="*/ 4382613 w 4526616"/>
                <a:gd name="connsiteY4" fmla="*/ 864000 h 864000"/>
                <a:gd name="connsiteX5" fmla="*/ 0 w 4526616"/>
                <a:gd name="connsiteY5" fmla="*/ 864000 h 864000"/>
                <a:gd name="connsiteX6" fmla="*/ 29900 w 4526616"/>
                <a:gd name="connsiteY6" fmla="*/ 827760 h 864000"/>
                <a:gd name="connsiteX7" fmla="*/ 152865 w 4526616"/>
                <a:gd name="connsiteY7" fmla="*/ 425201 h 864000"/>
                <a:gd name="connsiteX8" fmla="*/ 29900 w 4526616"/>
                <a:gd name="connsiteY8" fmla="*/ 22642 h 864000"/>
                <a:gd name="connsiteX9" fmla="*/ 11219 w 4526616"/>
                <a:gd name="connsiteY9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26616" h="864000">
                  <a:moveTo>
                    <a:pt x="11219" y="0"/>
                  </a:moveTo>
                  <a:lnTo>
                    <a:pt x="4382613" y="0"/>
                  </a:lnTo>
                  <a:cubicBezTo>
                    <a:pt x="4462144" y="0"/>
                    <a:pt x="4526616" y="64472"/>
                    <a:pt x="4526616" y="144003"/>
                  </a:cubicBezTo>
                  <a:lnTo>
                    <a:pt x="4526616" y="719997"/>
                  </a:lnTo>
                  <a:cubicBezTo>
                    <a:pt x="4526616" y="799528"/>
                    <a:pt x="4462144" y="864000"/>
                    <a:pt x="4382613" y="864000"/>
                  </a:cubicBezTo>
                  <a:lnTo>
                    <a:pt x="0" y="864000"/>
                  </a:lnTo>
                  <a:lnTo>
                    <a:pt x="29900" y="827760"/>
                  </a:lnTo>
                  <a:cubicBezTo>
                    <a:pt x="107534" y="712847"/>
                    <a:pt x="152865" y="574318"/>
                    <a:pt x="152865" y="425201"/>
                  </a:cubicBezTo>
                  <a:cubicBezTo>
                    <a:pt x="152865" y="276084"/>
                    <a:pt x="107534" y="137555"/>
                    <a:pt x="29900" y="22642"/>
                  </a:cubicBezTo>
                  <a:lnTo>
                    <a:pt x="11219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2164" y="5394620"/>
              <a:ext cx="360000" cy="360000"/>
            </a:xfrm>
            <a:prstGeom prst="rect">
              <a:avLst/>
            </a:prstGeom>
          </p:spPr>
        </p:pic>
        <p:sp>
          <p:nvSpPr>
            <p:cNvPr id="47" name="Прямоугольник 46"/>
            <p:cNvSpPr/>
            <p:nvPr/>
          </p:nvSpPr>
          <p:spPr>
            <a:xfrm>
              <a:off x="1080028" y="5556743"/>
              <a:ext cx="168296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2000" b="1" dirty="0" smtClean="0">
                  <a:solidFill>
                    <a:srgbClr val="003462"/>
                  </a:solidFill>
                  <a:latin typeface="+mn-lt"/>
                  <a:ea typeface="Calibri" panose="020F0502020204030204" pitchFamily="34" charset="0"/>
                </a:rPr>
                <a:t>10,5 </a:t>
              </a:r>
              <a:r>
                <a:rPr lang="ru-RU" sz="1400" dirty="0">
                  <a:solidFill>
                    <a:srgbClr val="003462"/>
                  </a:solidFill>
                  <a:latin typeface="+mn-lt"/>
                  <a:ea typeface="Calibri" panose="020F0502020204030204" pitchFamily="34" charset="0"/>
                </a:rPr>
                <a:t>тыс. женщин</a:t>
              </a:r>
              <a:endParaRPr lang="en-US" sz="1400" dirty="0">
                <a:solidFill>
                  <a:srgbClr val="003462"/>
                </a:solidFill>
                <a:latin typeface="+mn-lt"/>
                <a:ea typeface="Calibri" panose="020F0502020204030204" pitchFamily="34" charset="0"/>
              </a:endParaRPr>
            </a:p>
          </p:txBody>
        </p:sp>
        <p:sp>
          <p:nvSpPr>
            <p:cNvPr id="48" name="Полилиния 47"/>
            <p:cNvSpPr/>
            <p:nvPr/>
          </p:nvSpPr>
          <p:spPr>
            <a:xfrm>
              <a:off x="3100887" y="5394620"/>
              <a:ext cx="666249" cy="720000"/>
            </a:xfrm>
            <a:custGeom>
              <a:avLst/>
              <a:gdLst>
                <a:gd name="connsiteX0" fmla="*/ 144003 w 666249"/>
                <a:gd name="connsiteY0" fmla="*/ 0 h 864000"/>
                <a:gd name="connsiteX1" fmla="*/ 524603 w 666249"/>
                <a:gd name="connsiteY1" fmla="*/ 0 h 864000"/>
                <a:gd name="connsiteX2" fmla="*/ 543284 w 666249"/>
                <a:gd name="connsiteY2" fmla="*/ 22642 h 864000"/>
                <a:gd name="connsiteX3" fmla="*/ 666249 w 666249"/>
                <a:gd name="connsiteY3" fmla="*/ 425201 h 864000"/>
                <a:gd name="connsiteX4" fmla="*/ 543284 w 666249"/>
                <a:gd name="connsiteY4" fmla="*/ 827760 h 864000"/>
                <a:gd name="connsiteX5" fmla="*/ 513384 w 666249"/>
                <a:gd name="connsiteY5" fmla="*/ 864000 h 864000"/>
                <a:gd name="connsiteX6" fmla="*/ 144003 w 666249"/>
                <a:gd name="connsiteY6" fmla="*/ 864000 h 864000"/>
                <a:gd name="connsiteX7" fmla="*/ 0 w 666249"/>
                <a:gd name="connsiteY7" fmla="*/ 719997 h 864000"/>
                <a:gd name="connsiteX8" fmla="*/ 0 w 666249"/>
                <a:gd name="connsiteY8" fmla="*/ 144003 h 864000"/>
                <a:gd name="connsiteX9" fmla="*/ 144003 w 666249"/>
                <a:gd name="connsiteY9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249" h="864000">
                  <a:moveTo>
                    <a:pt x="144003" y="0"/>
                  </a:moveTo>
                  <a:lnTo>
                    <a:pt x="524603" y="0"/>
                  </a:lnTo>
                  <a:lnTo>
                    <a:pt x="543284" y="22642"/>
                  </a:lnTo>
                  <a:cubicBezTo>
                    <a:pt x="620918" y="137555"/>
                    <a:pt x="666249" y="276084"/>
                    <a:pt x="666249" y="425201"/>
                  </a:cubicBezTo>
                  <a:cubicBezTo>
                    <a:pt x="666249" y="574318"/>
                    <a:pt x="620918" y="712847"/>
                    <a:pt x="543284" y="827760"/>
                  </a:cubicBezTo>
                  <a:lnTo>
                    <a:pt x="513384" y="864000"/>
                  </a:lnTo>
                  <a:lnTo>
                    <a:pt x="144003" y="864000"/>
                  </a:lnTo>
                  <a:cubicBezTo>
                    <a:pt x="64472" y="864000"/>
                    <a:pt x="0" y="799528"/>
                    <a:pt x="0" y="719997"/>
                  </a:cubicBezTo>
                  <a:lnTo>
                    <a:pt x="0" y="144003"/>
                  </a:lnTo>
                  <a:cubicBezTo>
                    <a:pt x="0" y="64472"/>
                    <a:pt x="64472" y="0"/>
                    <a:pt x="14400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Полилиния 48"/>
            <p:cNvSpPr/>
            <p:nvPr/>
          </p:nvSpPr>
          <p:spPr>
            <a:xfrm>
              <a:off x="3614270" y="5394620"/>
              <a:ext cx="2027439" cy="720000"/>
            </a:xfrm>
            <a:custGeom>
              <a:avLst/>
              <a:gdLst>
                <a:gd name="connsiteX0" fmla="*/ 11219 w 4526616"/>
                <a:gd name="connsiteY0" fmla="*/ 0 h 864000"/>
                <a:gd name="connsiteX1" fmla="*/ 4382613 w 4526616"/>
                <a:gd name="connsiteY1" fmla="*/ 0 h 864000"/>
                <a:gd name="connsiteX2" fmla="*/ 4526616 w 4526616"/>
                <a:gd name="connsiteY2" fmla="*/ 144003 h 864000"/>
                <a:gd name="connsiteX3" fmla="*/ 4526616 w 4526616"/>
                <a:gd name="connsiteY3" fmla="*/ 719997 h 864000"/>
                <a:gd name="connsiteX4" fmla="*/ 4382613 w 4526616"/>
                <a:gd name="connsiteY4" fmla="*/ 864000 h 864000"/>
                <a:gd name="connsiteX5" fmla="*/ 0 w 4526616"/>
                <a:gd name="connsiteY5" fmla="*/ 864000 h 864000"/>
                <a:gd name="connsiteX6" fmla="*/ 29900 w 4526616"/>
                <a:gd name="connsiteY6" fmla="*/ 827760 h 864000"/>
                <a:gd name="connsiteX7" fmla="*/ 152865 w 4526616"/>
                <a:gd name="connsiteY7" fmla="*/ 425201 h 864000"/>
                <a:gd name="connsiteX8" fmla="*/ 29900 w 4526616"/>
                <a:gd name="connsiteY8" fmla="*/ 22642 h 864000"/>
                <a:gd name="connsiteX9" fmla="*/ 11219 w 4526616"/>
                <a:gd name="connsiteY9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26616" h="864000">
                  <a:moveTo>
                    <a:pt x="11219" y="0"/>
                  </a:moveTo>
                  <a:lnTo>
                    <a:pt x="4382613" y="0"/>
                  </a:lnTo>
                  <a:cubicBezTo>
                    <a:pt x="4462144" y="0"/>
                    <a:pt x="4526616" y="64472"/>
                    <a:pt x="4526616" y="144003"/>
                  </a:cubicBezTo>
                  <a:lnTo>
                    <a:pt x="4526616" y="719997"/>
                  </a:lnTo>
                  <a:cubicBezTo>
                    <a:pt x="4526616" y="799528"/>
                    <a:pt x="4462144" y="864000"/>
                    <a:pt x="4382613" y="864000"/>
                  </a:cubicBezTo>
                  <a:lnTo>
                    <a:pt x="0" y="864000"/>
                  </a:lnTo>
                  <a:lnTo>
                    <a:pt x="29900" y="827760"/>
                  </a:lnTo>
                  <a:cubicBezTo>
                    <a:pt x="107534" y="712847"/>
                    <a:pt x="152865" y="574318"/>
                    <a:pt x="152865" y="425201"/>
                  </a:cubicBezTo>
                  <a:cubicBezTo>
                    <a:pt x="152865" y="276084"/>
                    <a:pt x="107534" y="137555"/>
                    <a:pt x="29900" y="22642"/>
                  </a:cubicBezTo>
                  <a:lnTo>
                    <a:pt x="11219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3712846" y="5556743"/>
              <a:ext cx="1326582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2000" b="1" dirty="0" smtClean="0">
                  <a:solidFill>
                    <a:srgbClr val="003462"/>
                  </a:solidFill>
                  <a:latin typeface="+mn-lt"/>
                  <a:ea typeface="Calibri" panose="020F0502020204030204" pitchFamily="34" charset="0"/>
                </a:rPr>
                <a:t>6 </a:t>
              </a:r>
              <a:r>
                <a:rPr lang="ru-RU" sz="1400" dirty="0">
                  <a:solidFill>
                    <a:srgbClr val="003462"/>
                  </a:solidFill>
                  <a:latin typeface="+mn-lt"/>
                  <a:ea typeface="Calibri" panose="020F0502020204030204" pitchFamily="34" charset="0"/>
                </a:rPr>
                <a:t>тыс. </a:t>
              </a:r>
              <a:r>
                <a:rPr lang="ru-RU" sz="1400" dirty="0" smtClean="0">
                  <a:solidFill>
                    <a:srgbClr val="003462"/>
                  </a:solidFill>
                  <a:latin typeface="+mn-lt"/>
                  <a:ea typeface="Calibri" panose="020F0502020204030204" pitchFamily="34" charset="0"/>
                </a:rPr>
                <a:t>мужчин</a:t>
              </a:r>
              <a:endParaRPr lang="en-US" sz="1400" dirty="0">
                <a:solidFill>
                  <a:srgbClr val="003462"/>
                </a:solidFill>
                <a:latin typeface="+mn-lt"/>
                <a:ea typeface="Calibri" panose="020F0502020204030204" pitchFamily="34" charset="0"/>
              </a:endParaRPr>
            </a:p>
          </p:txBody>
        </p:sp>
        <p:pic>
          <p:nvPicPr>
            <p:cNvPr id="51" name="Рисунок 50"/>
            <p:cNvPicPr>
              <a:picLocks noChangeAspect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4982" y="5428685"/>
              <a:ext cx="360000" cy="360000"/>
            </a:xfrm>
            <a:prstGeom prst="rect">
              <a:avLst/>
            </a:prstGeom>
          </p:spPr>
        </p:pic>
        <p:sp>
          <p:nvSpPr>
            <p:cNvPr id="52" name="Прямоугольник 51"/>
            <p:cNvSpPr/>
            <p:nvPr/>
          </p:nvSpPr>
          <p:spPr>
            <a:xfrm>
              <a:off x="2117998" y="4805611"/>
              <a:ext cx="3102994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2000" b="1" i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Calibri" panose="020F0502020204030204" pitchFamily="34" charset="0"/>
                </a:rPr>
                <a:t>56,9</a:t>
              </a:r>
              <a:r>
                <a:rPr lang="ru-RU" sz="1400" i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Calibri" panose="020F0502020204030204" pitchFamily="34" charset="0"/>
                </a:rPr>
                <a:t>%</a:t>
              </a:r>
              <a:r>
                <a:rPr lang="ru-RU" sz="2000" b="1" i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Calibri" panose="020F0502020204030204" pitchFamily="34" charset="0"/>
                </a:rPr>
                <a:t> </a:t>
              </a:r>
              <a:r>
                <a:rPr lang="ru-RU" sz="1400" i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Calibri" panose="020F0502020204030204" pitchFamily="34" charset="0"/>
                </a:rPr>
                <a:t>молодежь </a:t>
              </a:r>
              <a:r>
                <a:rPr lang="ru-RU" sz="1200" i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(9,4 </a:t>
              </a:r>
              <a:r>
                <a:rPr lang="ru-RU" sz="1200" i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тыс.чел</a:t>
              </a:r>
              <a:r>
                <a:rPr lang="ru-RU" sz="1200" i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.)</a:t>
              </a:r>
              <a:endPara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540979" y="5703475"/>
              <a:ext cx="66588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b="1" dirty="0" smtClean="0">
                  <a:solidFill>
                    <a:schemeClr val="bg1"/>
                  </a:solidFill>
                  <a:latin typeface="+mn-lt"/>
                  <a:ea typeface="Calibri" panose="020F0502020204030204" pitchFamily="34" charset="0"/>
                </a:rPr>
                <a:t>64 %</a:t>
              </a:r>
              <a:endParaRPr lang="en-US" sz="900" i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3152447" y="5723823"/>
              <a:ext cx="674814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b="1" dirty="0" smtClean="0">
                  <a:solidFill>
                    <a:schemeClr val="bg1"/>
                  </a:solidFill>
                  <a:latin typeface="+mn-lt"/>
                  <a:ea typeface="Calibri" panose="020F0502020204030204" pitchFamily="34" charset="0"/>
                </a:rPr>
                <a:t>36%</a:t>
              </a:r>
              <a:endParaRPr lang="en-US" sz="900" i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9" name="Пятиугольник 58"/>
            <p:cNvSpPr/>
            <p:nvPr/>
          </p:nvSpPr>
          <p:spPr>
            <a:xfrm>
              <a:off x="481164" y="4131701"/>
              <a:ext cx="923047" cy="720080"/>
            </a:xfrm>
            <a:prstGeom prst="homePlate">
              <a:avLst/>
            </a:prstGeom>
            <a:solidFill>
              <a:srgbClr val="EAB2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9г.</a:t>
              </a:r>
              <a:endPara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6493521" y="2984703"/>
            <a:ext cx="5197075" cy="2013804"/>
            <a:chOff x="6451216" y="4063730"/>
            <a:chExt cx="5197075" cy="2013804"/>
          </a:xfrm>
        </p:grpSpPr>
        <p:sp>
          <p:nvSpPr>
            <p:cNvPr id="79" name="Скругленный прямоугольник 78"/>
            <p:cNvSpPr/>
            <p:nvPr/>
          </p:nvSpPr>
          <p:spPr>
            <a:xfrm>
              <a:off x="8143290" y="4567786"/>
              <a:ext cx="2695080" cy="610890"/>
            </a:xfrm>
            <a:prstGeom prst="roundRect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Полилиния 79"/>
            <p:cNvSpPr/>
            <p:nvPr/>
          </p:nvSpPr>
          <p:spPr>
            <a:xfrm>
              <a:off x="7423210" y="4063730"/>
              <a:ext cx="666249" cy="720000"/>
            </a:xfrm>
            <a:custGeom>
              <a:avLst/>
              <a:gdLst>
                <a:gd name="connsiteX0" fmla="*/ 144003 w 666249"/>
                <a:gd name="connsiteY0" fmla="*/ 0 h 864000"/>
                <a:gd name="connsiteX1" fmla="*/ 524603 w 666249"/>
                <a:gd name="connsiteY1" fmla="*/ 0 h 864000"/>
                <a:gd name="connsiteX2" fmla="*/ 543284 w 666249"/>
                <a:gd name="connsiteY2" fmla="*/ 22642 h 864000"/>
                <a:gd name="connsiteX3" fmla="*/ 666249 w 666249"/>
                <a:gd name="connsiteY3" fmla="*/ 425201 h 864000"/>
                <a:gd name="connsiteX4" fmla="*/ 543284 w 666249"/>
                <a:gd name="connsiteY4" fmla="*/ 827760 h 864000"/>
                <a:gd name="connsiteX5" fmla="*/ 513384 w 666249"/>
                <a:gd name="connsiteY5" fmla="*/ 864000 h 864000"/>
                <a:gd name="connsiteX6" fmla="*/ 144003 w 666249"/>
                <a:gd name="connsiteY6" fmla="*/ 864000 h 864000"/>
                <a:gd name="connsiteX7" fmla="*/ 0 w 666249"/>
                <a:gd name="connsiteY7" fmla="*/ 719997 h 864000"/>
                <a:gd name="connsiteX8" fmla="*/ 0 w 666249"/>
                <a:gd name="connsiteY8" fmla="*/ 144003 h 864000"/>
                <a:gd name="connsiteX9" fmla="*/ 144003 w 666249"/>
                <a:gd name="connsiteY9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249" h="864000">
                  <a:moveTo>
                    <a:pt x="144003" y="0"/>
                  </a:moveTo>
                  <a:lnTo>
                    <a:pt x="524603" y="0"/>
                  </a:lnTo>
                  <a:lnTo>
                    <a:pt x="543284" y="22642"/>
                  </a:lnTo>
                  <a:cubicBezTo>
                    <a:pt x="620918" y="137555"/>
                    <a:pt x="666249" y="276084"/>
                    <a:pt x="666249" y="425201"/>
                  </a:cubicBezTo>
                  <a:cubicBezTo>
                    <a:pt x="666249" y="574318"/>
                    <a:pt x="620918" y="712847"/>
                    <a:pt x="543284" y="827760"/>
                  </a:cubicBezTo>
                  <a:lnTo>
                    <a:pt x="513384" y="864000"/>
                  </a:lnTo>
                  <a:lnTo>
                    <a:pt x="144003" y="864000"/>
                  </a:lnTo>
                  <a:cubicBezTo>
                    <a:pt x="64472" y="864000"/>
                    <a:pt x="0" y="799528"/>
                    <a:pt x="0" y="719997"/>
                  </a:cubicBezTo>
                  <a:lnTo>
                    <a:pt x="0" y="144003"/>
                  </a:lnTo>
                  <a:cubicBezTo>
                    <a:pt x="0" y="64472"/>
                    <a:pt x="64472" y="0"/>
                    <a:pt x="14400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Полилиния 80"/>
            <p:cNvSpPr/>
            <p:nvPr/>
          </p:nvSpPr>
          <p:spPr>
            <a:xfrm>
              <a:off x="7936593" y="4063730"/>
              <a:ext cx="3033346" cy="720000"/>
            </a:xfrm>
            <a:custGeom>
              <a:avLst/>
              <a:gdLst>
                <a:gd name="connsiteX0" fmla="*/ 11219 w 4526616"/>
                <a:gd name="connsiteY0" fmla="*/ 0 h 864000"/>
                <a:gd name="connsiteX1" fmla="*/ 4382613 w 4526616"/>
                <a:gd name="connsiteY1" fmla="*/ 0 h 864000"/>
                <a:gd name="connsiteX2" fmla="*/ 4526616 w 4526616"/>
                <a:gd name="connsiteY2" fmla="*/ 144003 h 864000"/>
                <a:gd name="connsiteX3" fmla="*/ 4526616 w 4526616"/>
                <a:gd name="connsiteY3" fmla="*/ 719997 h 864000"/>
                <a:gd name="connsiteX4" fmla="*/ 4382613 w 4526616"/>
                <a:gd name="connsiteY4" fmla="*/ 864000 h 864000"/>
                <a:gd name="connsiteX5" fmla="*/ 0 w 4526616"/>
                <a:gd name="connsiteY5" fmla="*/ 864000 h 864000"/>
                <a:gd name="connsiteX6" fmla="*/ 29900 w 4526616"/>
                <a:gd name="connsiteY6" fmla="*/ 827760 h 864000"/>
                <a:gd name="connsiteX7" fmla="*/ 152865 w 4526616"/>
                <a:gd name="connsiteY7" fmla="*/ 425201 h 864000"/>
                <a:gd name="connsiteX8" fmla="*/ 29900 w 4526616"/>
                <a:gd name="connsiteY8" fmla="*/ 22642 h 864000"/>
                <a:gd name="connsiteX9" fmla="*/ 11219 w 4526616"/>
                <a:gd name="connsiteY9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26616" h="864000">
                  <a:moveTo>
                    <a:pt x="11219" y="0"/>
                  </a:moveTo>
                  <a:lnTo>
                    <a:pt x="4382613" y="0"/>
                  </a:lnTo>
                  <a:cubicBezTo>
                    <a:pt x="4462144" y="0"/>
                    <a:pt x="4526616" y="64472"/>
                    <a:pt x="4526616" y="144003"/>
                  </a:cubicBezTo>
                  <a:lnTo>
                    <a:pt x="4526616" y="719997"/>
                  </a:lnTo>
                  <a:cubicBezTo>
                    <a:pt x="4526616" y="799528"/>
                    <a:pt x="4462144" y="864000"/>
                    <a:pt x="4382613" y="864000"/>
                  </a:cubicBezTo>
                  <a:lnTo>
                    <a:pt x="0" y="864000"/>
                  </a:lnTo>
                  <a:lnTo>
                    <a:pt x="29900" y="827760"/>
                  </a:lnTo>
                  <a:cubicBezTo>
                    <a:pt x="107534" y="712847"/>
                    <a:pt x="152865" y="574318"/>
                    <a:pt x="152865" y="425201"/>
                  </a:cubicBezTo>
                  <a:cubicBezTo>
                    <a:pt x="152865" y="276084"/>
                    <a:pt x="107534" y="137555"/>
                    <a:pt x="29900" y="22642"/>
                  </a:cubicBezTo>
                  <a:lnTo>
                    <a:pt x="11219" y="0"/>
                  </a:lnTo>
                  <a:close/>
                </a:path>
              </a:pathLst>
            </a:custGeom>
            <a:solidFill>
              <a:srgbClr val="EAB200"/>
            </a:solidFill>
            <a:ln>
              <a:solidFill>
                <a:schemeClr val="bg1"/>
              </a:solidFill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" name="Прямоугольник 81"/>
            <p:cNvSpPr/>
            <p:nvPr/>
          </p:nvSpPr>
          <p:spPr>
            <a:xfrm>
              <a:off x="8117279" y="4129959"/>
              <a:ext cx="2852660" cy="61555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2000" b="1" dirty="0" smtClean="0">
                  <a:solidFill>
                    <a:srgbClr val="003462"/>
                  </a:solidFill>
                  <a:latin typeface="+mn-lt"/>
                  <a:ea typeface="Calibri" panose="020F0502020204030204" pitchFamily="34" charset="0"/>
                </a:rPr>
                <a:t>37,4 </a:t>
              </a:r>
              <a:r>
                <a:rPr lang="ru-RU" sz="1400" b="1" dirty="0" smtClean="0">
                  <a:solidFill>
                    <a:srgbClr val="003462"/>
                  </a:solidFill>
                  <a:latin typeface="+mn-lt"/>
                  <a:ea typeface="Calibri" panose="020F0502020204030204" pitchFamily="34" charset="0"/>
                </a:rPr>
                <a:t>тыс. </a:t>
              </a:r>
              <a:r>
                <a:rPr lang="ru-RU" sz="1400" b="1" dirty="0">
                  <a:solidFill>
                    <a:srgbClr val="003462"/>
                  </a:solidFill>
                  <a:latin typeface="+mn-lt"/>
                  <a:ea typeface="Calibri" panose="020F0502020204030204" pitchFamily="34" charset="0"/>
                </a:rPr>
                <a:t>человек </a:t>
              </a:r>
              <a:r>
                <a:rPr lang="ru-RU" sz="1400" dirty="0" smtClean="0">
                  <a:solidFill>
                    <a:srgbClr val="003462"/>
                  </a:solidFill>
                  <a:latin typeface="+mn-lt"/>
                  <a:ea typeface="Calibri" panose="020F0502020204030204" pitchFamily="34" charset="0"/>
                </a:rPr>
                <a:t>прошли психологическое тестирование</a:t>
              </a:r>
              <a:endParaRPr lang="en-US" sz="1400" dirty="0">
                <a:solidFill>
                  <a:srgbClr val="003462"/>
                </a:solidFill>
                <a:latin typeface="+mn-lt"/>
              </a:endParaRPr>
            </a:p>
          </p:txBody>
        </p:sp>
        <p:pic>
          <p:nvPicPr>
            <p:cNvPr id="83" name="Рисунок 82"/>
            <p:cNvPicPr>
              <a:picLocks noChangeAspect="1"/>
            </p:cNvPicPr>
            <p:nvPr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67955" y="4146878"/>
              <a:ext cx="500919" cy="500919"/>
            </a:xfrm>
            <a:prstGeom prst="rect">
              <a:avLst/>
            </a:prstGeom>
          </p:spPr>
        </p:pic>
        <p:sp>
          <p:nvSpPr>
            <p:cNvPr id="84" name="Полилиния 83"/>
            <p:cNvSpPr/>
            <p:nvPr/>
          </p:nvSpPr>
          <p:spPr>
            <a:xfrm>
              <a:off x="6474651" y="5357534"/>
              <a:ext cx="666249" cy="720000"/>
            </a:xfrm>
            <a:custGeom>
              <a:avLst/>
              <a:gdLst>
                <a:gd name="connsiteX0" fmla="*/ 144003 w 666249"/>
                <a:gd name="connsiteY0" fmla="*/ 0 h 864000"/>
                <a:gd name="connsiteX1" fmla="*/ 524603 w 666249"/>
                <a:gd name="connsiteY1" fmla="*/ 0 h 864000"/>
                <a:gd name="connsiteX2" fmla="*/ 543284 w 666249"/>
                <a:gd name="connsiteY2" fmla="*/ 22642 h 864000"/>
                <a:gd name="connsiteX3" fmla="*/ 666249 w 666249"/>
                <a:gd name="connsiteY3" fmla="*/ 425201 h 864000"/>
                <a:gd name="connsiteX4" fmla="*/ 543284 w 666249"/>
                <a:gd name="connsiteY4" fmla="*/ 827760 h 864000"/>
                <a:gd name="connsiteX5" fmla="*/ 513384 w 666249"/>
                <a:gd name="connsiteY5" fmla="*/ 864000 h 864000"/>
                <a:gd name="connsiteX6" fmla="*/ 144003 w 666249"/>
                <a:gd name="connsiteY6" fmla="*/ 864000 h 864000"/>
                <a:gd name="connsiteX7" fmla="*/ 0 w 666249"/>
                <a:gd name="connsiteY7" fmla="*/ 719997 h 864000"/>
                <a:gd name="connsiteX8" fmla="*/ 0 w 666249"/>
                <a:gd name="connsiteY8" fmla="*/ 144003 h 864000"/>
                <a:gd name="connsiteX9" fmla="*/ 144003 w 666249"/>
                <a:gd name="connsiteY9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249" h="864000">
                  <a:moveTo>
                    <a:pt x="144003" y="0"/>
                  </a:moveTo>
                  <a:lnTo>
                    <a:pt x="524603" y="0"/>
                  </a:lnTo>
                  <a:lnTo>
                    <a:pt x="543284" y="22642"/>
                  </a:lnTo>
                  <a:cubicBezTo>
                    <a:pt x="620918" y="137555"/>
                    <a:pt x="666249" y="276084"/>
                    <a:pt x="666249" y="425201"/>
                  </a:cubicBezTo>
                  <a:cubicBezTo>
                    <a:pt x="666249" y="574318"/>
                    <a:pt x="620918" y="712847"/>
                    <a:pt x="543284" y="827760"/>
                  </a:cubicBezTo>
                  <a:lnTo>
                    <a:pt x="513384" y="864000"/>
                  </a:lnTo>
                  <a:lnTo>
                    <a:pt x="144003" y="864000"/>
                  </a:lnTo>
                  <a:cubicBezTo>
                    <a:pt x="64472" y="864000"/>
                    <a:pt x="0" y="799528"/>
                    <a:pt x="0" y="719997"/>
                  </a:cubicBezTo>
                  <a:lnTo>
                    <a:pt x="0" y="144003"/>
                  </a:lnTo>
                  <a:cubicBezTo>
                    <a:pt x="0" y="64472"/>
                    <a:pt x="64472" y="0"/>
                    <a:pt x="14400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Полилиния 84"/>
            <p:cNvSpPr/>
            <p:nvPr/>
          </p:nvSpPr>
          <p:spPr>
            <a:xfrm>
              <a:off x="6988034" y="5357534"/>
              <a:ext cx="2027439" cy="720000"/>
            </a:xfrm>
            <a:custGeom>
              <a:avLst/>
              <a:gdLst>
                <a:gd name="connsiteX0" fmla="*/ 11219 w 4526616"/>
                <a:gd name="connsiteY0" fmla="*/ 0 h 864000"/>
                <a:gd name="connsiteX1" fmla="*/ 4382613 w 4526616"/>
                <a:gd name="connsiteY1" fmla="*/ 0 h 864000"/>
                <a:gd name="connsiteX2" fmla="*/ 4526616 w 4526616"/>
                <a:gd name="connsiteY2" fmla="*/ 144003 h 864000"/>
                <a:gd name="connsiteX3" fmla="*/ 4526616 w 4526616"/>
                <a:gd name="connsiteY3" fmla="*/ 719997 h 864000"/>
                <a:gd name="connsiteX4" fmla="*/ 4382613 w 4526616"/>
                <a:gd name="connsiteY4" fmla="*/ 864000 h 864000"/>
                <a:gd name="connsiteX5" fmla="*/ 0 w 4526616"/>
                <a:gd name="connsiteY5" fmla="*/ 864000 h 864000"/>
                <a:gd name="connsiteX6" fmla="*/ 29900 w 4526616"/>
                <a:gd name="connsiteY6" fmla="*/ 827760 h 864000"/>
                <a:gd name="connsiteX7" fmla="*/ 152865 w 4526616"/>
                <a:gd name="connsiteY7" fmla="*/ 425201 h 864000"/>
                <a:gd name="connsiteX8" fmla="*/ 29900 w 4526616"/>
                <a:gd name="connsiteY8" fmla="*/ 22642 h 864000"/>
                <a:gd name="connsiteX9" fmla="*/ 11219 w 4526616"/>
                <a:gd name="connsiteY9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26616" h="864000">
                  <a:moveTo>
                    <a:pt x="11219" y="0"/>
                  </a:moveTo>
                  <a:lnTo>
                    <a:pt x="4382613" y="0"/>
                  </a:lnTo>
                  <a:cubicBezTo>
                    <a:pt x="4462144" y="0"/>
                    <a:pt x="4526616" y="64472"/>
                    <a:pt x="4526616" y="144003"/>
                  </a:cubicBezTo>
                  <a:lnTo>
                    <a:pt x="4526616" y="719997"/>
                  </a:lnTo>
                  <a:cubicBezTo>
                    <a:pt x="4526616" y="799528"/>
                    <a:pt x="4462144" y="864000"/>
                    <a:pt x="4382613" y="864000"/>
                  </a:cubicBezTo>
                  <a:lnTo>
                    <a:pt x="0" y="864000"/>
                  </a:lnTo>
                  <a:lnTo>
                    <a:pt x="29900" y="827760"/>
                  </a:lnTo>
                  <a:cubicBezTo>
                    <a:pt x="107534" y="712847"/>
                    <a:pt x="152865" y="574318"/>
                    <a:pt x="152865" y="425201"/>
                  </a:cubicBezTo>
                  <a:cubicBezTo>
                    <a:pt x="152865" y="276084"/>
                    <a:pt x="107534" y="137555"/>
                    <a:pt x="29900" y="22642"/>
                  </a:cubicBezTo>
                  <a:lnTo>
                    <a:pt x="11219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6" name="Рисунок 85"/>
            <p:cNvPicPr>
              <a:picLocks noChangeAspect="1"/>
            </p:cNvPicPr>
            <p:nvPr/>
          </p:nvPicPr>
          <p:blipFill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78746" y="5356402"/>
              <a:ext cx="360000" cy="360000"/>
            </a:xfrm>
            <a:prstGeom prst="rect">
              <a:avLst/>
            </a:prstGeom>
          </p:spPr>
        </p:pic>
        <p:sp>
          <p:nvSpPr>
            <p:cNvPr id="87" name="Прямоугольник 86"/>
            <p:cNvSpPr/>
            <p:nvPr/>
          </p:nvSpPr>
          <p:spPr>
            <a:xfrm>
              <a:off x="7086610" y="5518525"/>
              <a:ext cx="168296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2000" b="1" dirty="0" smtClean="0">
                  <a:solidFill>
                    <a:srgbClr val="003462"/>
                  </a:solidFill>
                  <a:latin typeface="+mn-lt"/>
                  <a:ea typeface="Calibri" panose="020F0502020204030204" pitchFamily="34" charset="0"/>
                </a:rPr>
                <a:t>20,9 </a:t>
              </a:r>
              <a:r>
                <a:rPr lang="ru-RU" sz="1400" dirty="0">
                  <a:solidFill>
                    <a:srgbClr val="003462"/>
                  </a:solidFill>
                  <a:latin typeface="+mn-lt"/>
                  <a:ea typeface="Calibri" panose="020F0502020204030204" pitchFamily="34" charset="0"/>
                </a:rPr>
                <a:t>тыс. женщин</a:t>
              </a:r>
              <a:endParaRPr lang="en-US" sz="1400" dirty="0">
                <a:solidFill>
                  <a:srgbClr val="003462"/>
                </a:solidFill>
                <a:latin typeface="+mn-lt"/>
                <a:ea typeface="Calibri" panose="020F0502020204030204" pitchFamily="34" charset="0"/>
              </a:endParaRPr>
            </a:p>
          </p:txBody>
        </p:sp>
        <p:sp>
          <p:nvSpPr>
            <p:cNvPr id="88" name="Полилиния 87"/>
            <p:cNvSpPr/>
            <p:nvPr/>
          </p:nvSpPr>
          <p:spPr>
            <a:xfrm>
              <a:off x="9107469" y="5356402"/>
              <a:ext cx="666249" cy="720000"/>
            </a:xfrm>
            <a:custGeom>
              <a:avLst/>
              <a:gdLst>
                <a:gd name="connsiteX0" fmla="*/ 144003 w 666249"/>
                <a:gd name="connsiteY0" fmla="*/ 0 h 864000"/>
                <a:gd name="connsiteX1" fmla="*/ 524603 w 666249"/>
                <a:gd name="connsiteY1" fmla="*/ 0 h 864000"/>
                <a:gd name="connsiteX2" fmla="*/ 543284 w 666249"/>
                <a:gd name="connsiteY2" fmla="*/ 22642 h 864000"/>
                <a:gd name="connsiteX3" fmla="*/ 666249 w 666249"/>
                <a:gd name="connsiteY3" fmla="*/ 425201 h 864000"/>
                <a:gd name="connsiteX4" fmla="*/ 543284 w 666249"/>
                <a:gd name="connsiteY4" fmla="*/ 827760 h 864000"/>
                <a:gd name="connsiteX5" fmla="*/ 513384 w 666249"/>
                <a:gd name="connsiteY5" fmla="*/ 864000 h 864000"/>
                <a:gd name="connsiteX6" fmla="*/ 144003 w 666249"/>
                <a:gd name="connsiteY6" fmla="*/ 864000 h 864000"/>
                <a:gd name="connsiteX7" fmla="*/ 0 w 666249"/>
                <a:gd name="connsiteY7" fmla="*/ 719997 h 864000"/>
                <a:gd name="connsiteX8" fmla="*/ 0 w 666249"/>
                <a:gd name="connsiteY8" fmla="*/ 144003 h 864000"/>
                <a:gd name="connsiteX9" fmla="*/ 144003 w 666249"/>
                <a:gd name="connsiteY9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249" h="864000">
                  <a:moveTo>
                    <a:pt x="144003" y="0"/>
                  </a:moveTo>
                  <a:lnTo>
                    <a:pt x="524603" y="0"/>
                  </a:lnTo>
                  <a:lnTo>
                    <a:pt x="543284" y="22642"/>
                  </a:lnTo>
                  <a:cubicBezTo>
                    <a:pt x="620918" y="137555"/>
                    <a:pt x="666249" y="276084"/>
                    <a:pt x="666249" y="425201"/>
                  </a:cubicBezTo>
                  <a:cubicBezTo>
                    <a:pt x="666249" y="574318"/>
                    <a:pt x="620918" y="712847"/>
                    <a:pt x="543284" y="827760"/>
                  </a:cubicBezTo>
                  <a:lnTo>
                    <a:pt x="513384" y="864000"/>
                  </a:lnTo>
                  <a:lnTo>
                    <a:pt x="144003" y="864000"/>
                  </a:lnTo>
                  <a:cubicBezTo>
                    <a:pt x="64472" y="864000"/>
                    <a:pt x="0" y="799528"/>
                    <a:pt x="0" y="719997"/>
                  </a:cubicBezTo>
                  <a:lnTo>
                    <a:pt x="0" y="144003"/>
                  </a:lnTo>
                  <a:cubicBezTo>
                    <a:pt x="0" y="64472"/>
                    <a:pt x="64472" y="0"/>
                    <a:pt x="14400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Полилиния 88"/>
            <p:cNvSpPr/>
            <p:nvPr/>
          </p:nvSpPr>
          <p:spPr>
            <a:xfrm>
              <a:off x="9620852" y="5356402"/>
              <a:ext cx="2027439" cy="720000"/>
            </a:xfrm>
            <a:custGeom>
              <a:avLst/>
              <a:gdLst>
                <a:gd name="connsiteX0" fmla="*/ 11219 w 4526616"/>
                <a:gd name="connsiteY0" fmla="*/ 0 h 864000"/>
                <a:gd name="connsiteX1" fmla="*/ 4382613 w 4526616"/>
                <a:gd name="connsiteY1" fmla="*/ 0 h 864000"/>
                <a:gd name="connsiteX2" fmla="*/ 4526616 w 4526616"/>
                <a:gd name="connsiteY2" fmla="*/ 144003 h 864000"/>
                <a:gd name="connsiteX3" fmla="*/ 4526616 w 4526616"/>
                <a:gd name="connsiteY3" fmla="*/ 719997 h 864000"/>
                <a:gd name="connsiteX4" fmla="*/ 4382613 w 4526616"/>
                <a:gd name="connsiteY4" fmla="*/ 864000 h 864000"/>
                <a:gd name="connsiteX5" fmla="*/ 0 w 4526616"/>
                <a:gd name="connsiteY5" fmla="*/ 864000 h 864000"/>
                <a:gd name="connsiteX6" fmla="*/ 29900 w 4526616"/>
                <a:gd name="connsiteY6" fmla="*/ 827760 h 864000"/>
                <a:gd name="connsiteX7" fmla="*/ 152865 w 4526616"/>
                <a:gd name="connsiteY7" fmla="*/ 425201 h 864000"/>
                <a:gd name="connsiteX8" fmla="*/ 29900 w 4526616"/>
                <a:gd name="connsiteY8" fmla="*/ 22642 h 864000"/>
                <a:gd name="connsiteX9" fmla="*/ 11219 w 4526616"/>
                <a:gd name="connsiteY9" fmla="*/ 0 h 86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26616" h="864000">
                  <a:moveTo>
                    <a:pt x="11219" y="0"/>
                  </a:moveTo>
                  <a:lnTo>
                    <a:pt x="4382613" y="0"/>
                  </a:lnTo>
                  <a:cubicBezTo>
                    <a:pt x="4462144" y="0"/>
                    <a:pt x="4526616" y="64472"/>
                    <a:pt x="4526616" y="144003"/>
                  </a:cubicBezTo>
                  <a:lnTo>
                    <a:pt x="4526616" y="719997"/>
                  </a:lnTo>
                  <a:cubicBezTo>
                    <a:pt x="4526616" y="799528"/>
                    <a:pt x="4462144" y="864000"/>
                    <a:pt x="4382613" y="864000"/>
                  </a:cubicBezTo>
                  <a:lnTo>
                    <a:pt x="0" y="864000"/>
                  </a:lnTo>
                  <a:lnTo>
                    <a:pt x="29900" y="827760"/>
                  </a:lnTo>
                  <a:cubicBezTo>
                    <a:pt x="107534" y="712847"/>
                    <a:pt x="152865" y="574318"/>
                    <a:pt x="152865" y="425201"/>
                  </a:cubicBezTo>
                  <a:cubicBezTo>
                    <a:pt x="152865" y="276084"/>
                    <a:pt x="107534" y="137555"/>
                    <a:pt x="29900" y="22642"/>
                  </a:cubicBezTo>
                  <a:lnTo>
                    <a:pt x="11219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Прямоугольник 89"/>
            <p:cNvSpPr/>
            <p:nvPr/>
          </p:nvSpPr>
          <p:spPr>
            <a:xfrm>
              <a:off x="9719428" y="5518525"/>
              <a:ext cx="165199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2000" b="1" dirty="0" smtClean="0">
                  <a:solidFill>
                    <a:srgbClr val="003462"/>
                  </a:solidFill>
                  <a:latin typeface="+mn-lt"/>
                  <a:ea typeface="Calibri" panose="020F0502020204030204" pitchFamily="34" charset="0"/>
                </a:rPr>
                <a:t>16,5 </a:t>
              </a:r>
              <a:r>
                <a:rPr lang="ru-RU" sz="1400" dirty="0">
                  <a:solidFill>
                    <a:srgbClr val="003462"/>
                  </a:solidFill>
                  <a:latin typeface="+mn-lt"/>
                  <a:ea typeface="Calibri" panose="020F0502020204030204" pitchFamily="34" charset="0"/>
                </a:rPr>
                <a:t>тыс. </a:t>
              </a:r>
              <a:r>
                <a:rPr lang="ru-RU" sz="1400" dirty="0" smtClean="0">
                  <a:solidFill>
                    <a:srgbClr val="003462"/>
                  </a:solidFill>
                  <a:latin typeface="+mn-lt"/>
                  <a:ea typeface="Calibri" panose="020F0502020204030204" pitchFamily="34" charset="0"/>
                </a:rPr>
                <a:t>мужчин</a:t>
              </a:r>
              <a:endParaRPr lang="en-US" sz="1400" dirty="0">
                <a:solidFill>
                  <a:srgbClr val="003462"/>
                </a:solidFill>
                <a:latin typeface="+mn-lt"/>
                <a:ea typeface="Calibri" panose="020F0502020204030204" pitchFamily="34" charset="0"/>
              </a:endParaRPr>
            </a:p>
          </p:txBody>
        </p:sp>
        <p:pic>
          <p:nvPicPr>
            <p:cNvPr id="91" name="Рисунок 90"/>
            <p:cNvPicPr>
              <a:picLocks noChangeAspect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1564" y="5390467"/>
              <a:ext cx="360000" cy="360000"/>
            </a:xfrm>
            <a:prstGeom prst="rect">
              <a:avLst/>
            </a:prstGeom>
          </p:spPr>
        </p:pic>
        <p:sp>
          <p:nvSpPr>
            <p:cNvPr id="92" name="Прямоугольник 91"/>
            <p:cNvSpPr/>
            <p:nvPr/>
          </p:nvSpPr>
          <p:spPr>
            <a:xfrm>
              <a:off x="8124580" y="4767393"/>
              <a:ext cx="2726207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2000" b="1" i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Calibri" panose="020F0502020204030204" pitchFamily="34" charset="0"/>
                </a:rPr>
                <a:t>37</a:t>
              </a:r>
              <a:r>
                <a:rPr lang="ru-RU" sz="1400" i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Calibri" panose="020F0502020204030204" pitchFamily="34" charset="0"/>
                </a:rPr>
                <a:t>%</a:t>
              </a:r>
              <a:r>
                <a:rPr lang="ru-RU" sz="2000" b="1" i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Calibri" panose="020F0502020204030204" pitchFamily="34" charset="0"/>
                </a:rPr>
                <a:t> </a:t>
              </a:r>
              <a:r>
                <a:rPr lang="ru-RU" sz="1400" i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Calibri" panose="020F0502020204030204" pitchFamily="34" charset="0"/>
                </a:rPr>
                <a:t>молодежь </a:t>
              </a:r>
              <a:r>
                <a:rPr lang="ru-RU" sz="1200" i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(14,2 </a:t>
              </a:r>
              <a:r>
                <a:rPr lang="ru-RU" sz="1200" i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тыс.чел</a:t>
              </a:r>
              <a:r>
                <a:rPr lang="ru-RU" sz="1200" i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.)</a:t>
              </a:r>
              <a:endPara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endParaRPr>
            </a:p>
          </p:txBody>
        </p:sp>
        <p:sp>
          <p:nvSpPr>
            <p:cNvPr id="93" name="Прямоугольник 92"/>
            <p:cNvSpPr/>
            <p:nvPr/>
          </p:nvSpPr>
          <p:spPr>
            <a:xfrm>
              <a:off x="6451216" y="5665801"/>
              <a:ext cx="665883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b="1" dirty="0" smtClean="0">
                  <a:solidFill>
                    <a:schemeClr val="bg1"/>
                  </a:solidFill>
                  <a:latin typeface="+mn-lt"/>
                  <a:ea typeface="Calibri" panose="020F0502020204030204" pitchFamily="34" charset="0"/>
                </a:rPr>
                <a:t>55,9 %</a:t>
              </a:r>
              <a:endParaRPr lang="en-US" sz="900" i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4" name="Прямоугольник 93"/>
            <p:cNvSpPr/>
            <p:nvPr/>
          </p:nvSpPr>
          <p:spPr>
            <a:xfrm>
              <a:off x="9082543" y="5684935"/>
              <a:ext cx="674814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b="1" dirty="0" smtClean="0">
                  <a:solidFill>
                    <a:schemeClr val="bg1"/>
                  </a:solidFill>
                  <a:latin typeface="+mn-lt"/>
                  <a:ea typeface="Calibri" panose="020F0502020204030204" pitchFamily="34" charset="0"/>
                </a:rPr>
                <a:t>44,1 %</a:t>
              </a:r>
              <a:endParaRPr lang="en-US" sz="900" i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5" name="Пятиугольник 94"/>
            <p:cNvSpPr/>
            <p:nvPr/>
          </p:nvSpPr>
          <p:spPr>
            <a:xfrm>
              <a:off x="6487746" y="4093483"/>
              <a:ext cx="923047" cy="720080"/>
            </a:xfrm>
            <a:prstGeom prst="homePlate">
              <a:avLst/>
            </a:prstGeom>
            <a:solidFill>
              <a:srgbClr val="EAB2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20г.</a:t>
              </a:r>
              <a:endPara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31" name="Скругленный прямоугольник 30"/>
          <p:cNvSpPr/>
          <p:nvPr/>
        </p:nvSpPr>
        <p:spPr>
          <a:xfrm>
            <a:off x="450293" y="2912695"/>
            <a:ext cx="5377868" cy="2232248"/>
          </a:xfrm>
          <a:prstGeom prst="roundRect">
            <a:avLst>
              <a:gd name="adj" fmla="val 3866"/>
            </a:avLst>
          </a:prstGeom>
          <a:noFill/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Скругленный прямоугольник 118"/>
          <p:cNvSpPr/>
          <p:nvPr/>
        </p:nvSpPr>
        <p:spPr>
          <a:xfrm>
            <a:off x="6435914" y="2912695"/>
            <a:ext cx="5377868" cy="2232248"/>
          </a:xfrm>
          <a:prstGeom prst="roundRect">
            <a:avLst>
              <a:gd name="adj" fmla="val 3866"/>
            </a:avLst>
          </a:prstGeom>
          <a:noFill/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Прямоугольник 54"/>
          <p:cNvSpPr/>
          <p:nvPr/>
        </p:nvSpPr>
        <p:spPr>
          <a:xfrm>
            <a:off x="299168" y="819768"/>
            <a:ext cx="11520640" cy="1180233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0"/>
                  <a:lumOff val="100000"/>
                  <a:alpha val="43000"/>
                </a:schemeClr>
              </a:gs>
              <a:gs pos="74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6" name="Группа 55"/>
          <p:cNvGrpSpPr/>
          <p:nvPr/>
        </p:nvGrpSpPr>
        <p:grpSpPr>
          <a:xfrm>
            <a:off x="6731237" y="873729"/>
            <a:ext cx="5082545" cy="942543"/>
            <a:chOff x="6096000" y="896921"/>
            <a:chExt cx="5082545" cy="942543"/>
          </a:xfrm>
        </p:grpSpPr>
        <p:sp>
          <p:nvSpPr>
            <p:cNvPr id="57" name="TextBox 56"/>
            <p:cNvSpPr txBox="1"/>
            <p:nvPr/>
          </p:nvSpPr>
          <p:spPr>
            <a:xfrm>
              <a:off x="6912667" y="950451"/>
              <a:ext cx="4265878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3200" b="1" dirty="0" smtClean="0">
                  <a:solidFill>
                    <a:srgbClr val="CB8913"/>
                  </a:solidFill>
                  <a:latin typeface="+mn-lt"/>
                </a:rPr>
                <a:t>58</a:t>
              </a:r>
              <a:r>
                <a:rPr lang="ru-RU" b="1" dirty="0" smtClean="0">
                  <a:solidFill>
                    <a:srgbClr val="003462"/>
                  </a:solidFill>
                  <a:latin typeface="+mn-lt"/>
                </a:rPr>
                <a:t>% женщины, </a:t>
              </a:r>
            </a:p>
            <a:p>
              <a:r>
                <a:rPr lang="ru-RU" sz="1400" b="1" dirty="0" smtClean="0">
                  <a:solidFill>
                    <a:srgbClr val="003462"/>
                  </a:solidFill>
                  <a:latin typeface="+mn-lt"/>
                </a:rPr>
                <a:t>        из </a:t>
              </a:r>
              <a:r>
                <a:rPr lang="ru-RU" sz="1400" b="1" dirty="0">
                  <a:solidFill>
                    <a:srgbClr val="003462"/>
                  </a:solidFill>
                  <a:latin typeface="+mn-lt"/>
                </a:rPr>
                <a:t>них </a:t>
              </a:r>
              <a:r>
                <a:rPr lang="ru-RU" b="1" dirty="0">
                  <a:solidFill>
                    <a:srgbClr val="CB8913"/>
                  </a:solidFill>
                  <a:latin typeface="+mn-lt"/>
                </a:rPr>
                <a:t>1-5</a:t>
              </a:r>
              <a:r>
                <a:rPr lang="ru-RU" sz="1400" b="1" dirty="0">
                  <a:solidFill>
                    <a:srgbClr val="CB8913"/>
                  </a:solidFill>
                  <a:latin typeface="+mn-lt"/>
                </a:rPr>
                <a:t>%</a:t>
              </a:r>
              <a:r>
                <a:rPr lang="ru-RU" sz="1400" b="1" dirty="0">
                  <a:solidFill>
                    <a:srgbClr val="003462"/>
                  </a:solidFill>
                  <a:latin typeface="+mn-lt"/>
                </a:rPr>
                <a:t> жертвы бытового насилия</a:t>
              </a:r>
              <a:r>
                <a:rPr lang="ru-RU" sz="1400" b="1" dirty="0" smtClean="0">
                  <a:solidFill>
                    <a:srgbClr val="003462"/>
                  </a:solidFill>
                  <a:latin typeface="+mn-lt"/>
                </a:rPr>
                <a:t>  </a:t>
              </a:r>
              <a:endParaRPr lang="en-US" sz="1400" dirty="0">
                <a:solidFill>
                  <a:srgbClr val="0034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58" name="Picture 2" descr="Женщина стоит icon"/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0" y="896921"/>
              <a:ext cx="942542" cy="9425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0" name="Группа 59"/>
          <p:cNvGrpSpPr/>
          <p:nvPr/>
        </p:nvGrpSpPr>
        <p:grpSpPr>
          <a:xfrm>
            <a:off x="792366" y="838643"/>
            <a:ext cx="5030860" cy="886489"/>
            <a:chOff x="501745" y="846473"/>
            <a:chExt cx="5030860" cy="886489"/>
          </a:xfrm>
        </p:grpSpPr>
        <p:sp>
          <p:nvSpPr>
            <p:cNvPr id="61" name="TextBox 60"/>
            <p:cNvSpPr txBox="1"/>
            <p:nvPr/>
          </p:nvSpPr>
          <p:spPr>
            <a:xfrm>
              <a:off x="1217744" y="1148187"/>
              <a:ext cx="431486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3200" b="1" dirty="0" smtClean="0">
                  <a:solidFill>
                    <a:srgbClr val="CB8913"/>
                  </a:solidFill>
                  <a:latin typeface="+mn-lt"/>
                </a:rPr>
                <a:t>53</a:t>
              </a:r>
              <a:r>
                <a:rPr lang="ru-RU" b="1" dirty="0" smtClean="0">
                  <a:solidFill>
                    <a:srgbClr val="003462"/>
                  </a:solidFill>
                  <a:latin typeface="+mn-lt"/>
                </a:rPr>
                <a:t> тыс. граждан получили услуги</a:t>
              </a:r>
              <a:endParaRPr lang="en-US" sz="1400" dirty="0">
                <a:solidFill>
                  <a:srgbClr val="00346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62" name="Picture 4" descr="Tall Person icon"/>
            <p:cNvPicPr>
              <a:picLocks noChangeAspect="1" noChangeArrowheads="1"/>
            </p:cNvPicPr>
            <p:nvPr/>
          </p:nvPicPr>
          <p:blipFill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1745" y="846473"/>
              <a:ext cx="785574" cy="7855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3" name="Параллелограмм 62"/>
          <p:cNvSpPr/>
          <p:nvPr/>
        </p:nvSpPr>
        <p:spPr>
          <a:xfrm>
            <a:off x="3945799" y="2336631"/>
            <a:ext cx="4239795" cy="394717"/>
          </a:xfrm>
          <a:prstGeom prst="parallelogram">
            <a:avLst/>
          </a:prstGeom>
          <a:solidFill>
            <a:srgbClr val="589CDB"/>
          </a:solidFill>
          <a:ln>
            <a:solidFill>
              <a:srgbClr val="589CDB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03462"/>
                </a:solidFill>
              </a:rPr>
              <a:t>Статистические показатели</a:t>
            </a:r>
            <a:endParaRPr lang="ru-RU" dirty="0">
              <a:solidFill>
                <a:srgbClr val="003462"/>
              </a:solidFill>
            </a:endParaRPr>
          </a:p>
        </p:txBody>
      </p:sp>
      <p:pic>
        <p:nvPicPr>
          <p:cNvPr id="64" name="Picture 4" descr="Высокий приоритет icon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0902" y="1433945"/>
            <a:ext cx="395999" cy="39600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id="{A4CBE7B0-D243-4EA5-9E6F-A92A218B7825}"/>
              </a:ext>
            </a:extLst>
          </p:cNvPr>
          <p:cNvCxnSpPr>
            <a:cxnSpLocks/>
          </p:cNvCxnSpPr>
          <p:nvPr/>
        </p:nvCxnSpPr>
        <p:spPr>
          <a:xfrm>
            <a:off x="224593" y="666261"/>
            <a:ext cx="10925175" cy="0"/>
          </a:xfrm>
          <a:prstGeom prst="line">
            <a:avLst/>
          </a:prstGeom>
          <a:ln>
            <a:solidFill>
              <a:srgbClr val="D984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id="{8E88E2E3-2C0D-4282-9D18-5B8F5F9606E1}"/>
              </a:ext>
            </a:extLst>
          </p:cNvPr>
          <p:cNvCxnSpPr>
            <a:cxnSpLocks/>
          </p:cNvCxnSpPr>
          <p:nvPr/>
        </p:nvCxnSpPr>
        <p:spPr>
          <a:xfrm flipV="1">
            <a:off x="108956" y="116499"/>
            <a:ext cx="0" cy="549762"/>
          </a:xfrm>
          <a:prstGeom prst="line">
            <a:avLst/>
          </a:prstGeom>
          <a:ln w="76200">
            <a:solidFill>
              <a:srgbClr val="D984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Прямоугольник 67"/>
          <p:cNvSpPr/>
          <p:nvPr/>
        </p:nvSpPr>
        <p:spPr>
          <a:xfrm>
            <a:off x="583284" y="5553693"/>
            <a:ext cx="1090336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accent5">
                  <a:lumMod val="50000"/>
                </a:schemeClr>
              </a:buClr>
              <a:buSzPct val="70000"/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rgbClr val="CB8913"/>
                </a:solidFill>
              </a:rPr>
              <a:t>5</a:t>
            </a:r>
            <a:r>
              <a:rPr lang="ru-RU" sz="2400" b="1" dirty="0" smtClean="0">
                <a:solidFill>
                  <a:srgbClr val="CB8913"/>
                </a:solidFill>
              </a:rPr>
              <a:t>6</a:t>
            </a:r>
            <a:r>
              <a:rPr lang="ru-RU" sz="1400" b="1" dirty="0">
                <a:solidFill>
                  <a:srgbClr val="003462"/>
                </a:solidFill>
              </a:rPr>
              <a:t>% </a:t>
            </a:r>
            <a:r>
              <a:rPr lang="ru-RU" sz="1400" b="1" dirty="0" smtClean="0">
                <a:solidFill>
                  <a:srgbClr val="003462"/>
                </a:solidFill>
              </a:rPr>
              <a:t>предпочитают руководящие должности и только </a:t>
            </a:r>
            <a:r>
              <a:rPr lang="ru-RU" sz="2400" b="1" dirty="0" smtClean="0">
                <a:solidFill>
                  <a:srgbClr val="CB8913"/>
                </a:solidFill>
              </a:rPr>
              <a:t>14</a:t>
            </a:r>
            <a:r>
              <a:rPr lang="ru-RU" sz="1400" b="1" dirty="0" smtClean="0">
                <a:solidFill>
                  <a:srgbClr val="003462"/>
                </a:solidFill>
              </a:rPr>
              <a:t>% предрасположены к физическому труду</a:t>
            </a:r>
          </a:p>
          <a:p>
            <a:pPr marL="342900" indent="-342900">
              <a:buClr>
                <a:schemeClr val="accent5">
                  <a:lumMod val="50000"/>
                </a:schemeClr>
              </a:buClr>
              <a:buSzPct val="70000"/>
              <a:buFont typeface="Wingdings" panose="05000000000000000000" pitchFamily="2" charset="2"/>
              <a:buChar char="Ø"/>
            </a:pPr>
            <a:r>
              <a:rPr lang="kk-KZ" sz="2400" b="1" dirty="0">
                <a:solidFill>
                  <a:srgbClr val="CB8913"/>
                </a:solidFill>
              </a:rPr>
              <a:t>45</a:t>
            </a:r>
            <a:r>
              <a:rPr lang="kk-KZ" sz="1400" b="1" dirty="0">
                <a:solidFill>
                  <a:srgbClr val="003462"/>
                </a:solidFill>
              </a:rPr>
              <a:t>%</a:t>
            </a:r>
            <a:r>
              <a:rPr lang="kk-KZ" sz="1400" dirty="0"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kk-KZ" sz="1400" b="1" dirty="0">
                <a:solidFill>
                  <a:srgbClr val="003462"/>
                </a:solidFill>
              </a:rPr>
              <a:t>не имеют гибкие навыки (коммуникабельность, умение нестандартно мыслить, принимать решения, работать в команде</a:t>
            </a:r>
            <a:r>
              <a:rPr lang="kk-KZ" sz="1400" b="1" dirty="0" smtClean="0">
                <a:solidFill>
                  <a:srgbClr val="003462"/>
                </a:solidFill>
              </a:rPr>
              <a:t>)</a:t>
            </a:r>
          </a:p>
          <a:p>
            <a:pPr marL="342900" indent="-342900">
              <a:buClr>
                <a:schemeClr val="accent5">
                  <a:lumMod val="50000"/>
                </a:schemeClr>
              </a:buClr>
              <a:buSzPct val="70000"/>
              <a:buFont typeface="Wingdings" panose="05000000000000000000" pitchFamily="2" charset="2"/>
              <a:buChar char="Ø"/>
            </a:pPr>
            <a:r>
              <a:rPr lang="kk-KZ" sz="2400" b="1" dirty="0">
                <a:solidFill>
                  <a:srgbClr val="CB8913"/>
                </a:solidFill>
              </a:rPr>
              <a:t>6,8</a:t>
            </a:r>
            <a:r>
              <a:rPr lang="kk-KZ" sz="1400" b="1" dirty="0">
                <a:solidFill>
                  <a:srgbClr val="003462"/>
                </a:solidFill>
              </a:rPr>
              <a:t>% безработного населения с суицидальными </a:t>
            </a:r>
            <a:r>
              <a:rPr lang="kk-KZ" sz="1400" b="1" dirty="0" smtClean="0">
                <a:solidFill>
                  <a:srgbClr val="003462"/>
                </a:solidFill>
              </a:rPr>
              <a:t>наклонностями</a:t>
            </a:r>
            <a:endParaRPr lang="kk-KZ" sz="1400" b="1" dirty="0">
              <a:solidFill>
                <a:srgbClr val="00346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8064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9383311"/>
              </p:ext>
            </p:extLst>
          </p:nvPr>
        </p:nvGraphicFramePr>
        <p:xfrm>
          <a:off x="925213" y="2082062"/>
          <a:ext cx="3357563" cy="25853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D9A342FE-5C82-4F52-BF2B-CFF321963454}"/>
              </a:ext>
            </a:extLst>
          </p:cNvPr>
          <p:cNvSpPr txBox="1">
            <a:spLocks/>
          </p:cNvSpPr>
          <p:nvPr/>
        </p:nvSpPr>
        <p:spPr bwMode="auto">
          <a:xfrm>
            <a:off x="286803" y="169489"/>
            <a:ext cx="11269663" cy="30777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r>
              <a:rPr lang="ru-RU" sz="20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  <a:sym typeface="Trebuchet MS" panose="020B0603020202020204" pitchFamily="34" charset="0"/>
              </a:rPr>
              <a:t>ОПРОС ПО ПОТРЕБНОСТИ В КАДРАХ</a:t>
            </a:r>
            <a:endParaRPr lang="ru-RU" sz="2000" b="1" dirty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A4CBE7B0-D243-4EA5-9E6F-A92A218B7825}"/>
              </a:ext>
            </a:extLst>
          </p:cNvPr>
          <p:cNvCxnSpPr>
            <a:cxnSpLocks/>
          </p:cNvCxnSpPr>
          <p:nvPr/>
        </p:nvCxnSpPr>
        <p:spPr>
          <a:xfrm>
            <a:off x="286803" y="615950"/>
            <a:ext cx="10925175" cy="0"/>
          </a:xfrm>
          <a:prstGeom prst="line">
            <a:avLst/>
          </a:prstGeom>
          <a:ln>
            <a:solidFill>
              <a:srgbClr val="D984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8E88E2E3-2C0D-4282-9D18-5B8F5F9606E1}"/>
              </a:ext>
            </a:extLst>
          </p:cNvPr>
          <p:cNvCxnSpPr>
            <a:cxnSpLocks/>
          </p:cNvCxnSpPr>
          <p:nvPr/>
        </p:nvCxnSpPr>
        <p:spPr>
          <a:xfrm flipV="1">
            <a:off x="203215" y="66188"/>
            <a:ext cx="0" cy="549762"/>
          </a:xfrm>
          <a:prstGeom prst="line">
            <a:avLst/>
          </a:prstGeom>
          <a:ln w="76200">
            <a:solidFill>
              <a:srgbClr val="D984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357327" y="4397227"/>
            <a:ext cx="9239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chemeClr val="accent5">
                    <a:lumMod val="50000"/>
                  </a:schemeClr>
                </a:solidFill>
              </a:rPr>
              <a:t>2021г.</a:t>
            </a:r>
            <a:endParaRPr lang="ru-RU" sz="11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428889" y="4397227"/>
            <a:ext cx="9239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chemeClr val="accent5">
                    <a:lumMod val="50000"/>
                  </a:schemeClr>
                </a:solidFill>
              </a:rPr>
              <a:t>2022г.</a:t>
            </a:r>
            <a:endParaRPr lang="ru-RU" sz="11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452827" y="4425999"/>
            <a:ext cx="9239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chemeClr val="accent5">
                    <a:lumMod val="50000"/>
                  </a:schemeClr>
                </a:solidFill>
              </a:rPr>
              <a:t>2023г.</a:t>
            </a:r>
            <a:endParaRPr lang="ru-RU" sz="11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994896" y="1792117"/>
            <a:ext cx="381502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0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Потребность в кадрах на 2021-2023гг </a:t>
            </a:r>
          </a:p>
          <a:p>
            <a:pPr algn="ctr">
              <a:defRPr sz="120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(вакансии)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9166164" y="1991124"/>
            <a:ext cx="249874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accent5">
                    <a:lumMod val="50000"/>
                  </a:schemeClr>
                </a:solidFill>
              </a:rPr>
              <a:t>Структура потребности </a:t>
            </a:r>
            <a:r>
              <a:rPr lang="ru-RU" sz="1200" b="1" dirty="0" smtClean="0">
                <a:solidFill>
                  <a:schemeClr val="accent5">
                    <a:lumMod val="50000"/>
                  </a:schemeClr>
                </a:solidFill>
              </a:rPr>
              <a:t>2021 </a:t>
            </a:r>
            <a:r>
              <a:rPr lang="ru-RU" sz="1200" b="1" dirty="0">
                <a:solidFill>
                  <a:schemeClr val="accent5">
                    <a:lumMod val="50000"/>
                  </a:schemeClr>
                </a:solidFill>
              </a:rPr>
              <a:t>года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989599" y="725341"/>
            <a:ext cx="46753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и до пандемии наибольший спрос приходится на рабочие кадры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03215" y="5721090"/>
            <a:ext cx="55020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зилось количество субъектов предпринимательства которые имеют потребность с 45% в 2019 году до  </a:t>
            </a:r>
            <a:r>
              <a:rPr lang="ru-RU" sz="1200" b="1" dirty="0">
                <a:solidFill>
                  <a:srgbClr val="D9841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,6% </a:t>
            </a:r>
            <a:r>
              <a:rPr lang="ru-RU" sz="1200" b="1" dirty="0" smtClean="0">
                <a:solidFill>
                  <a:srgbClr val="D9841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21 году</a:t>
            </a:r>
            <a:endParaRPr lang="ru-RU" sz="12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Straight Connector 105"/>
          <p:cNvCxnSpPr/>
          <p:nvPr/>
        </p:nvCxnSpPr>
        <p:spPr>
          <a:xfrm flipV="1">
            <a:off x="304532" y="1418836"/>
            <a:ext cx="4968000" cy="0"/>
          </a:xfrm>
          <a:prstGeom prst="line">
            <a:avLst/>
          </a:prstGeom>
          <a:ln w="28575" cap="rnd" cmpd="sng" algn="ctr">
            <a:solidFill>
              <a:srgbClr val="D98410"/>
            </a:solidFill>
            <a:prstDash val="sysDot"/>
            <a:round/>
            <a:headEnd type="none" w="med" len="med"/>
            <a:tailEnd type="none" w="med" len="med"/>
          </a:ln>
        </p:spPr>
      </p:cxnSp>
      <p:cxnSp>
        <p:nvCxnSpPr>
          <p:cNvPr id="21" name="Straight Connector 105"/>
          <p:cNvCxnSpPr/>
          <p:nvPr/>
        </p:nvCxnSpPr>
        <p:spPr>
          <a:xfrm flipV="1">
            <a:off x="6993703" y="1418836"/>
            <a:ext cx="4788000" cy="0"/>
          </a:xfrm>
          <a:prstGeom prst="line">
            <a:avLst/>
          </a:prstGeom>
          <a:ln w="28575" cap="rnd" cmpd="sng" algn="ctr">
            <a:solidFill>
              <a:srgbClr val="D98410"/>
            </a:solidFill>
            <a:prstDash val="sysDot"/>
            <a:round/>
            <a:headEnd type="none" w="med" len="med"/>
            <a:tailEnd type="none" w="med" len="med"/>
          </a:ln>
        </p:spPr>
      </p:cxnSp>
      <p:cxnSp>
        <p:nvCxnSpPr>
          <p:cNvPr id="23" name="Straight Connector 105"/>
          <p:cNvCxnSpPr/>
          <p:nvPr/>
        </p:nvCxnSpPr>
        <p:spPr>
          <a:xfrm flipH="1" flipV="1">
            <a:off x="5951538" y="1041090"/>
            <a:ext cx="0" cy="4680000"/>
          </a:xfrm>
          <a:prstGeom prst="line">
            <a:avLst/>
          </a:prstGeom>
          <a:ln w="9525" cap="rnd" cmpd="sng" algn="ctr">
            <a:solidFill>
              <a:srgbClr val="D9841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5" name="Прямоугольник 24"/>
          <p:cNvSpPr/>
          <p:nvPr/>
        </p:nvSpPr>
        <p:spPr>
          <a:xfrm>
            <a:off x="203215" y="5024046"/>
            <a:ext cx="58376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D9841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5%</a:t>
            </a:r>
            <a:r>
              <a:rPr lang="ru-RU" sz="1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требности приходится на </a:t>
            </a:r>
            <a:r>
              <a:rPr lang="ru-RU" sz="12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</a:t>
            </a:r>
            <a:r>
              <a:rPr lang="ru-RU" sz="12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ур</a:t>
            </a:r>
            <a:r>
              <a:rPr lang="ru-RU" sz="1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Султан и </a:t>
            </a:r>
            <a:r>
              <a:rPr lang="ru-RU" sz="12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</a:t>
            </a:r>
            <a:r>
              <a:rPr lang="ru-RU" sz="1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маты 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пандемии) наибольшая потребность была в Туркестанской области (21%).</a:t>
            </a:r>
            <a:endParaRPr lang="ru-RU" sz="1200" dirty="0" smtClean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6532013" y="5074759"/>
            <a:ext cx="52781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ибольший спрос </a:t>
            </a:r>
            <a:r>
              <a:rPr lang="ru-RU" sz="1200" b="1" dirty="0" smtClean="0">
                <a:solidFill>
                  <a:srgbClr val="D9841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9%</a:t>
            </a:r>
            <a:r>
              <a:rPr lang="ru-RU" sz="12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ходится на рабочие </a:t>
            </a:r>
            <a:r>
              <a:rPr lang="ru-RU" sz="1200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дры, </a:t>
            </a:r>
            <a:r>
              <a:rPr lang="ru-RU" sz="12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пандемии показатель составлял </a:t>
            </a:r>
            <a:r>
              <a:rPr lang="ru-RU" sz="1200" b="1" dirty="0">
                <a:solidFill>
                  <a:srgbClr val="D9841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6%</a:t>
            </a:r>
            <a:r>
              <a:rPr lang="ru-RU" sz="1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й потребности приходилось на рабочие кадры</a:t>
            </a:r>
          </a:p>
        </p:txBody>
      </p:sp>
      <p:grpSp>
        <p:nvGrpSpPr>
          <p:cNvPr id="6" name="Группа 5"/>
          <p:cNvGrpSpPr/>
          <p:nvPr/>
        </p:nvGrpSpPr>
        <p:grpSpPr>
          <a:xfrm>
            <a:off x="8697400" y="2118135"/>
            <a:ext cx="3634183" cy="2519624"/>
            <a:chOff x="8015956" y="2169622"/>
            <a:chExt cx="3436268" cy="2334856"/>
          </a:xfrm>
        </p:grpSpPr>
        <p:graphicFrame>
          <p:nvGraphicFramePr>
            <p:cNvPr id="8" name="Диаграмма 7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438154852"/>
                </p:ext>
              </p:extLst>
            </p:nvPr>
          </p:nvGraphicFramePr>
          <p:xfrm>
            <a:off x="8015956" y="2169622"/>
            <a:ext cx="3436268" cy="233485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7" name="TextBox 26"/>
            <p:cNvSpPr txBox="1"/>
            <p:nvPr/>
          </p:nvSpPr>
          <p:spPr>
            <a:xfrm>
              <a:off x="8879285" y="2886140"/>
              <a:ext cx="821787" cy="3686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50" dirty="0" smtClean="0">
                  <a:solidFill>
                    <a:schemeClr val="accent5">
                      <a:lumMod val="50000"/>
                    </a:schemeClr>
                  </a:solidFill>
                </a:rPr>
                <a:t>Не требуется</a:t>
              </a:r>
              <a:endParaRPr lang="ru-RU" sz="1050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9740214" y="2677660"/>
              <a:ext cx="1162029" cy="2253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50" dirty="0" smtClean="0">
                  <a:solidFill>
                    <a:schemeClr val="accent5">
                      <a:lumMod val="50000"/>
                    </a:schemeClr>
                  </a:solidFill>
                </a:rPr>
                <a:t>ВУЗ</a:t>
              </a:r>
              <a:endParaRPr lang="ru-RU" sz="1050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9530691" y="3591069"/>
              <a:ext cx="1162029" cy="2253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50" dirty="0" err="1" smtClean="0">
                  <a:solidFill>
                    <a:schemeClr val="accent5">
                      <a:lumMod val="50000"/>
                    </a:schemeClr>
                  </a:solidFill>
                </a:rPr>
                <a:t>ТиПО</a:t>
              </a:r>
              <a:endParaRPr lang="ru-RU" sz="1050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</p:grpSp>
      <p:sp>
        <p:nvSpPr>
          <p:cNvPr id="32" name="Прямоугольник 31"/>
          <p:cNvSpPr/>
          <p:nvPr/>
        </p:nvSpPr>
        <p:spPr>
          <a:xfrm>
            <a:off x="593733" y="6308605"/>
            <a:ext cx="116300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lnSpc>
                <a:spcPct val="150000"/>
              </a:lnSpc>
              <a:spcAft>
                <a:spcPts val="0"/>
              </a:spcAft>
            </a:pPr>
            <a:r>
              <a:rPr lang="ru-RU" sz="12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ос до пандемии показал, </a:t>
            </a:r>
            <a:r>
              <a:rPr lang="ru-RU" sz="1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выпуск специалистов с высшим образованием практически в </a:t>
            </a:r>
            <a:r>
              <a:rPr lang="ru-RU" sz="1200" b="1" dirty="0">
                <a:solidFill>
                  <a:srgbClr val="D9841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,3</a:t>
            </a:r>
            <a:r>
              <a:rPr lang="ru-RU" sz="1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з превышал их </a:t>
            </a:r>
            <a:r>
              <a:rPr lang="ru-RU" sz="12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ность</a:t>
            </a:r>
            <a:endParaRPr lang="ru-RU" sz="12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A4CBE7B0-D243-4EA5-9E6F-A92A218B7825}"/>
              </a:ext>
            </a:extLst>
          </p:cNvPr>
          <p:cNvCxnSpPr>
            <a:cxnSpLocks/>
          </p:cNvCxnSpPr>
          <p:nvPr/>
        </p:nvCxnSpPr>
        <p:spPr>
          <a:xfrm>
            <a:off x="1031496" y="6308605"/>
            <a:ext cx="10152000" cy="0"/>
          </a:xfrm>
          <a:prstGeom prst="line">
            <a:avLst/>
          </a:prstGeom>
          <a:ln>
            <a:solidFill>
              <a:srgbClr val="D98410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A4CBE7B0-D243-4EA5-9E6F-A92A218B7825}"/>
              </a:ext>
            </a:extLst>
          </p:cNvPr>
          <p:cNvCxnSpPr>
            <a:cxnSpLocks/>
          </p:cNvCxnSpPr>
          <p:nvPr/>
        </p:nvCxnSpPr>
        <p:spPr>
          <a:xfrm>
            <a:off x="991475" y="6763662"/>
            <a:ext cx="10152000" cy="0"/>
          </a:xfrm>
          <a:prstGeom prst="line">
            <a:avLst/>
          </a:prstGeom>
          <a:ln>
            <a:solidFill>
              <a:srgbClr val="D98410"/>
            </a:solidFill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aphicFrame>
        <p:nvGraphicFramePr>
          <p:cNvPr id="40" name="Диаграмма 3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8492329"/>
              </p:ext>
            </p:extLst>
          </p:nvPr>
        </p:nvGraphicFramePr>
        <p:xfrm>
          <a:off x="5833507" y="2293386"/>
          <a:ext cx="3690150" cy="21254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1" name="TextBox 40"/>
          <p:cNvSpPr txBox="1"/>
          <p:nvPr/>
        </p:nvSpPr>
        <p:spPr bwMode="auto">
          <a:xfrm>
            <a:off x="5933504" y="1982531"/>
            <a:ext cx="327970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Структура потребности 2019 года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119614" y="754398"/>
            <a:ext cx="574256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>
              <a:spcAft>
                <a:spcPts val="0"/>
              </a:spcAft>
            </a:pP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ошено </a:t>
            </a:r>
            <a:r>
              <a:rPr lang="ru-RU" sz="1400" b="1" dirty="0" smtClean="0">
                <a:solidFill>
                  <a:srgbClr val="D9841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,5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. 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ъектов предпринимательства</a:t>
            </a:r>
            <a:endParaRPr lang="ru-RU" sz="14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6558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Прямоугольник 49"/>
          <p:cNvSpPr/>
          <p:nvPr/>
        </p:nvSpPr>
        <p:spPr>
          <a:xfrm>
            <a:off x="7782653" y="3756790"/>
            <a:ext cx="4347407" cy="338137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рямоугольник 48"/>
          <p:cNvSpPr/>
          <p:nvPr/>
        </p:nvSpPr>
        <p:spPr>
          <a:xfrm>
            <a:off x="7753864" y="777337"/>
            <a:ext cx="4376196" cy="338137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A342FE-5C82-4F52-BF2B-CFF321963454}"/>
              </a:ext>
            </a:extLst>
          </p:cNvPr>
          <p:cNvSpPr txBox="1">
            <a:spLocks/>
          </p:cNvSpPr>
          <p:nvPr/>
        </p:nvSpPr>
        <p:spPr bwMode="auto">
          <a:xfrm>
            <a:off x="341571" y="161865"/>
            <a:ext cx="5931041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r>
              <a:rPr lang="ru-RU" sz="20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  <a:sym typeface="Trebuchet MS" panose="020B0603020202020204" pitchFamily="34" charset="0"/>
              </a:rPr>
              <a:t>НАИБОЛЕЕ ВОСТРЕБОВАННЫЕ КАДРЫ </a:t>
            </a:r>
            <a:endParaRPr lang="ru-RU" sz="2000" b="1" dirty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8E88E2E3-2C0D-4282-9D18-5B8F5F9606E1}"/>
              </a:ext>
            </a:extLst>
          </p:cNvPr>
          <p:cNvCxnSpPr>
            <a:cxnSpLocks/>
          </p:cNvCxnSpPr>
          <p:nvPr/>
        </p:nvCxnSpPr>
        <p:spPr>
          <a:xfrm flipV="1">
            <a:off x="203215" y="66188"/>
            <a:ext cx="0" cy="549762"/>
          </a:xfrm>
          <a:prstGeom prst="line">
            <a:avLst/>
          </a:prstGeom>
          <a:ln w="76200">
            <a:solidFill>
              <a:srgbClr val="D984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 bwMode="auto">
          <a:xfrm>
            <a:off x="7732166" y="762259"/>
            <a:ext cx="430389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Топ востребованных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профессий</a:t>
            </a:r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на 2019 год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46" name="TextBox 45"/>
          <p:cNvSpPr txBox="1"/>
          <p:nvPr/>
        </p:nvSpPr>
        <p:spPr bwMode="auto">
          <a:xfrm>
            <a:off x="7952814" y="3755961"/>
            <a:ext cx="408324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Топ востребованных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профессий на 2020 год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54" name="TextBox 53"/>
          <p:cNvSpPr txBox="1"/>
          <p:nvPr/>
        </p:nvSpPr>
        <p:spPr bwMode="auto">
          <a:xfrm>
            <a:off x="2986504" y="1403300"/>
            <a:ext cx="3971711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Прогнозный показатель потребности в кадрах по сравнению к 2019 году сократился </a:t>
            </a:r>
            <a:r>
              <a:rPr lang="ru-RU" sz="1200" b="1" dirty="0">
                <a:solidFill>
                  <a:srgbClr val="D9841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4 раза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400" dirty="0" smtClean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+mn-lt"/>
              </a:rPr>
              <a:t>Основная потребность в кадрах приходится на рабочие профессии</a:t>
            </a:r>
            <a:endParaRPr lang="ru-RU" sz="1400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accent5">
                  <a:lumMod val="50000"/>
                </a:schemeClr>
              </a:solidFill>
              <a:latin typeface="+mn-lt"/>
            </a:endParaRPr>
          </a:p>
        </p:txBody>
      </p:sp>
      <p:graphicFrame>
        <p:nvGraphicFramePr>
          <p:cNvPr id="55" name="Диаграмма 5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90333083"/>
              </p:ext>
            </p:extLst>
          </p:nvPr>
        </p:nvGraphicFramePr>
        <p:xfrm>
          <a:off x="227821" y="1172254"/>
          <a:ext cx="2818625" cy="22247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6" name="Прямоугольник 55"/>
          <p:cNvSpPr/>
          <p:nvPr/>
        </p:nvSpPr>
        <p:spPr>
          <a:xfrm>
            <a:off x="629772" y="687391"/>
            <a:ext cx="437940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Потребность в кадрах с учетом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экстраполяции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graphicFrame>
        <p:nvGraphicFramePr>
          <p:cNvPr id="59" name="Таблица 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5542822"/>
              </p:ext>
            </p:extLst>
          </p:nvPr>
        </p:nvGraphicFramePr>
        <p:xfrm>
          <a:off x="8047519" y="4263469"/>
          <a:ext cx="4492840" cy="222885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664040">
                  <a:extLst>
                    <a:ext uri="{9D8B030D-6E8A-4147-A177-3AD203B41FA5}">
                      <a16:colId xmlns:a16="http://schemas.microsoft.com/office/drawing/2014/main" val="2906407193"/>
                    </a:ext>
                  </a:extLst>
                </a:gridCol>
                <a:gridCol w="717847">
                  <a:extLst>
                    <a:ext uri="{9D8B030D-6E8A-4147-A177-3AD203B41FA5}">
                      <a16:colId xmlns:a16="http://schemas.microsoft.com/office/drawing/2014/main" val="1736133224"/>
                    </a:ext>
                  </a:extLst>
                </a:gridCol>
                <a:gridCol w="1110953">
                  <a:extLst>
                    <a:ext uri="{9D8B030D-6E8A-4147-A177-3AD203B41FA5}">
                      <a16:colId xmlns:a16="http://schemas.microsoft.com/office/drawing/2014/main" val="2126129797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kern="1200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 </a:t>
                      </a:r>
                      <a:r>
                        <a:rPr lang="ru-RU" sz="14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азнорабочие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9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19055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kern="1200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 </a:t>
                      </a:r>
                      <a:r>
                        <a:rPr lang="ru-RU" sz="14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Продавец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3089322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kern="1200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 </a:t>
                      </a:r>
                      <a:r>
                        <a:rPr lang="ru-RU" sz="14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Швея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1115594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 </a:t>
                      </a:r>
                      <a:r>
                        <a:rPr lang="ru-RU" sz="14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Повар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9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9871503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kern="1200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 </a:t>
                      </a:r>
                      <a:r>
                        <a:rPr lang="ru-RU" sz="14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Тракторист - механизатор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6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1817623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kern="1200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. </a:t>
                      </a:r>
                      <a:r>
                        <a:rPr lang="ru-RU" sz="14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троитель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3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7360256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kern="1200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 </a:t>
                      </a:r>
                      <a:r>
                        <a:rPr lang="ru-RU" sz="14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Бухгалтер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3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1391965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kern="1200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. </a:t>
                      </a:r>
                      <a:r>
                        <a:rPr lang="ru-RU" sz="14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Водитель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0372873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kern="1200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. </a:t>
                      </a:r>
                      <a:r>
                        <a:rPr lang="ru-RU" sz="14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Каменщик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7321547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kern="1200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 </a:t>
                      </a:r>
                      <a:r>
                        <a:rPr lang="ru-RU" sz="14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варщик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42553223"/>
                  </a:ext>
                </a:extLst>
              </a:tr>
            </a:tbl>
          </a:graphicData>
        </a:graphic>
      </p:graphicFrame>
      <p:graphicFrame>
        <p:nvGraphicFramePr>
          <p:cNvPr id="60" name="Таблица 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4215145"/>
              </p:ext>
            </p:extLst>
          </p:nvPr>
        </p:nvGraphicFramePr>
        <p:xfrm>
          <a:off x="8047519" y="1185322"/>
          <a:ext cx="3893833" cy="222885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663239">
                  <a:extLst>
                    <a:ext uri="{9D8B030D-6E8A-4147-A177-3AD203B41FA5}">
                      <a16:colId xmlns:a16="http://schemas.microsoft.com/office/drawing/2014/main" val="1988541121"/>
                    </a:ext>
                  </a:extLst>
                </a:gridCol>
                <a:gridCol w="734939">
                  <a:extLst>
                    <a:ext uri="{9D8B030D-6E8A-4147-A177-3AD203B41FA5}">
                      <a16:colId xmlns:a16="http://schemas.microsoft.com/office/drawing/2014/main" val="2083636169"/>
                    </a:ext>
                  </a:extLst>
                </a:gridCol>
                <a:gridCol w="495655">
                  <a:extLst>
                    <a:ext uri="{9D8B030D-6E8A-4147-A177-3AD203B41FA5}">
                      <a16:colId xmlns:a16="http://schemas.microsoft.com/office/drawing/2014/main" val="2445429567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 </a:t>
                      </a:r>
                      <a:r>
                        <a:rPr lang="ru-RU" sz="14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Продавец</a:t>
                      </a:r>
                      <a:endParaRPr lang="ru-RU" sz="140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 77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0983301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</a:t>
                      </a:r>
                      <a:r>
                        <a:rPr lang="ru-RU" sz="14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Тракторист/механизатор</a:t>
                      </a:r>
                      <a:endParaRPr lang="ru-RU" sz="140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 4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3181394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 </a:t>
                      </a:r>
                      <a:r>
                        <a:rPr lang="ru-RU" sz="14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азнорабочий/грузчик</a:t>
                      </a:r>
                      <a:endParaRPr lang="ru-RU" sz="140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 78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2235129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 </a:t>
                      </a:r>
                      <a:r>
                        <a:rPr lang="ru-RU" sz="14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Водитель</a:t>
                      </a:r>
                      <a:endParaRPr lang="ru-RU" sz="140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 49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1227942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 </a:t>
                      </a:r>
                      <a:r>
                        <a:rPr lang="ru-RU" sz="14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Менеджер</a:t>
                      </a:r>
                      <a:endParaRPr lang="ru-RU" sz="140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 59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9168795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4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. </a:t>
                      </a:r>
                      <a:r>
                        <a:rPr lang="ru-RU" sz="14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Каменщик</a:t>
                      </a:r>
                      <a:endParaRPr lang="ru-RU" sz="140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 97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4711707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4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 </a:t>
                      </a:r>
                      <a:r>
                        <a:rPr lang="ru-RU" sz="14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Повар</a:t>
                      </a:r>
                      <a:endParaRPr lang="ru-RU" sz="140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 6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0398197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kern="120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. </a:t>
                      </a:r>
                      <a:r>
                        <a:rPr lang="ru-RU" sz="14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Бухгалтер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 4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4720498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kern="1200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. </a:t>
                      </a:r>
                      <a:r>
                        <a:rPr lang="ru-RU" sz="14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Воспитатель</a:t>
                      </a:r>
                      <a:endParaRPr lang="ru-RU" sz="140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 9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471196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kern="1200" dirty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 </a:t>
                      </a:r>
                      <a:r>
                        <a:rPr lang="ru-RU" sz="14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варщик</a:t>
                      </a:r>
                      <a:endParaRPr lang="ru-RU" sz="140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 76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58569241"/>
                  </a:ext>
                </a:extLst>
              </a:tr>
            </a:tbl>
          </a:graphicData>
        </a:graphic>
      </p:graphicFrame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id="{A4CBE7B0-D243-4EA5-9E6F-A92A218B7825}"/>
              </a:ext>
            </a:extLst>
          </p:cNvPr>
          <p:cNvCxnSpPr>
            <a:cxnSpLocks/>
          </p:cNvCxnSpPr>
          <p:nvPr/>
        </p:nvCxnSpPr>
        <p:spPr>
          <a:xfrm>
            <a:off x="318852" y="615950"/>
            <a:ext cx="10925175" cy="0"/>
          </a:xfrm>
          <a:prstGeom prst="line">
            <a:avLst/>
          </a:prstGeom>
          <a:ln>
            <a:solidFill>
              <a:srgbClr val="D984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105"/>
          <p:cNvCxnSpPr/>
          <p:nvPr/>
        </p:nvCxnSpPr>
        <p:spPr>
          <a:xfrm flipH="1" flipV="1">
            <a:off x="7455514" y="762259"/>
            <a:ext cx="0" cy="5864299"/>
          </a:xfrm>
          <a:prstGeom prst="line">
            <a:avLst/>
          </a:prstGeom>
          <a:ln w="9525" cap="rnd" cmpd="sng" algn="ctr">
            <a:solidFill>
              <a:srgbClr val="D9841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" name="Прямоугольник 1"/>
          <p:cNvSpPr/>
          <p:nvPr/>
        </p:nvSpPr>
        <p:spPr>
          <a:xfrm>
            <a:off x="227821" y="1025945"/>
            <a:ext cx="7044650" cy="2540340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775395" y="3637725"/>
            <a:ext cx="38404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00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ВЭД имеющие наибольшую потребность</a:t>
            </a:r>
          </a:p>
        </p:txBody>
      </p:sp>
      <p:graphicFrame>
        <p:nvGraphicFramePr>
          <p:cNvPr id="21" name="Диаграмма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8196881"/>
              </p:ext>
            </p:extLst>
          </p:nvPr>
        </p:nvGraphicFramePr>
        <p:xfrm>
          <a:off x="170112" y="3943640"/>
          <a:ext cx="3657223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Прямоугольник 21"/>
          <p:cNvSpPr/>
          <p:nvPr/>
        </p:nvSpPr>
        <p:spPr>
          <a:xfrm>
            <a:off x="3154881" y="4941715"/>
            <a:ext cx="402398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Положительную динамику </a:t>
            </a: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показали: строительство </a:t>
            </a:r>
            <a:r>
              <a:rPr lang="ru-RU" sz="1400" b="1" dirty="0" smtClean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+11,1%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, </a:t>
            </a: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торговля </a:t>
            </a:r>
            <a:r>
              <a:rPr lang="ru-RU" sz="1400" b="1" dirty="0" smtClean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+8,6%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, </a:t>
            </a: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здравоохранение </a:t>
            </a:r>
            <a:r>
              <a:rPr lang="ru-RU" sz="1400" b="1" dirty="0" smtClean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+1,7%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.</a:t>
            </a:r>
          </a:p>
          <a:p>
            <a:pPr marL="171450" indent="-1714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Отрицательную динамику показали: прочие индивидуальные услуги </a:t>
            </a:r>
            <a:r>
              <a:rPr lang="ru-RU" sz="1400" b="1" dirty="0" smtClean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–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23%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, </a:t>
            </a: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сельское хозяйство </a:t>
            </a:r>
            <a:r>
              <a:rPr lang="ru-RU" sz="1400" b="1" dirty="0" smtClean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– 7,2%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, </a:t>
            </a:r>
            <a:r>
              <a:rPr lang="ru-RU" sz="1400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финансы и страхование </a:t>
            </a:r>
            <a:r>
              <a:rPr lang="ru-RU" sz="1400" b="1" dirty="0" smtClean="0">
                <a:solidFill>
                  <a:srgbClr val="D98410"/>
                </a:solidFill>
                <a:latin typeface="+mn-lt"/>
                <a:cs typeface="Arial" panose="020B0604020202020204" pitchFamily="34" charset="0"/>
              </a:rPr>
              <a:t>– 3%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   </a:t>
            </a:r>
            <a:endParaRPr lang="ru-RU" sz="1400" b="1" dirty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27013" y="4045070"/>
            <a:ext cx="7045458" cy="2540340"/>
          </a:xfrm>
          <a:prstGeom prst="rect">
            <a:avLst/>
          </a:prstGeom>
          <a:noFill/>
          <a:ln w="12700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 bwMode="auto">
          <a:xfrm>
            <a:off x="659699" y="3312484"/>
            <a:ext cx="397171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dirty="0" smtClean="0">
                <a:solidFill>
                  <a:schemeClr val="bg2">
                    <a:lumMod val="50000"/>
                  </a:schemeClr>
                </a:solidFill>
                <a:latin typeface="+mn-lt"/>
              </a:rPr>
              <a:t>Экстраполированные данные</a:t>
            </a:r>
            <a:endParaRPr lang="ru-RU" sz="1200" i="1" dirty="0">
              <a:solidFill>
                <a:schemeClr val="bg2">
                  <a:lumMod val="50000"/>
                </a:schemeClr>
              </a:solidFill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200" i="1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87516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Объект 8" hidden="1">
            <a:extLst>
              <a:ext uri="{FF2B5EF4-FFF2-40B4-BE49-F238E27FC236}">
                <a16:creationId xmlns:a16="http://schemas.microsoft.com/office/drawing/2014/main" id="{4A9B1573-F0E8-41C4-BBBB-7EEAAEE423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0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6146" name="Объект 8" hidden="1">
                        <a:extLst>
                          <a:ext uri="{FF2B5EF4-FFF2-40B4-BE49-F238E27FC236}">
                            <a16:creationId xmlns:a16="http://schemas.microsoft.com/office/drawing/2014/main" id="{4A9B1573-F0E8-41C4-BBBB-7EEAAEE4238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50" name="Google Shape;252;p5">
            <a:extLst>
              <a:ext uri="{FF2B5EF4-FFF2-40B4-BE49-F238E27FC236}">
                <a16:creationId xmlns:a16="http://schemas.microsoft.com/office/drawing/2014/main" id="{F1F12825-E735-401B-B5E9-2371921BE0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35005" y="857585"/>
            <a:ext cx="2622708" cy="400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5" tIns="45700" rIns="91425" bIns="4570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t>Инструменты взаимодействия с населением</a:t>
            </a:r>
          </a:p>
        </p:txBody>
      </p:sp>
      <p:pic>
        <p:nvPicPr>
          <p:cNvPr id="6156" name="Рисунок 106">
            <a:extLst>
              <a:ext uri="{FF2B5EF4-FFF2-40B4-BE49-F238E27FC236}">
                <a16:creationId xmlns:a16="http://schemas.microsoft.com/office/drawing/2014/main" id="{572860C4-B6EF-4FFA-A543-ECA1293CB5C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7800" y="1484935"/>
            <a:ext cx="401637" cy="401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7" name="Рисунок 96">
            <a:extLst>
              <a:ext uri="{FF2B5EF4-FFF2-40B4-BE49-F238E27FC236}">
                <a16:creationId xmlns:a16="http://schemas.microsoft.com/office/drawing/2014/main" id="{17FBA152-A0F2-4B0C-A88D-A2FC0F2E5F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2018" y="1632712"/>
            <a:ext cx="330200" cy="328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8" name="Google Shape;252;p5">
            <a:extLst>
              <a:ext uri="{FF2B5EF4-FFF2-40B4-BE49-F238E27FC236}">
                <a16:creationId xmlns:a16="http://schemas.microsoft.com/office/drawing/2014/main" id="{C6CF3DA2-DA00-45E1-8A41-492FF06DEF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2913" y="1893888"/>
            <a:ext cx="1304925" cy="553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00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t>Мобильные центры занятости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000" dirty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59" name="Google Shape;252;p5">
            <a:extLst>
              <a:ext uri="{FF2B5EF4-FFF2-40B4-BE49-F238E27FC236}">
                <a16:creationId xmlns:a16="http://schemas.microsoft.com/office/drawing/2014/main" id="{4E43F8DA-EF12-43F6-A8DE-DD2813156D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8588" y="3104792"/>
            <a:ext cx="1753725" cy="400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5" tIns="45700" rIns="91425" bIns="4570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t>Посещение мест скопления населения</a:t>
            </a:r>
            <a:endParaRPr lang="ru-RU" altLang="ru-RU" sz="1000" dirty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60" name="Google Shape;252;p5">
            <a:extLst>
              <a:ext uri="{FF2B5EF4-FFF2-40B4-BE49-F238E27FC236}">
                <a16:creationId xmlns:a16="http://schemas.microsoft.com/office/drawing/2014/main" id="{688C8A44-AA23-4817-BA89-99FD6059CF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772" y="3106309"/>
            <a:ext cx="1252538" cy="400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t>Дистанционное оказание услуг</a:t>
            </a:r>
          </a:p>
        </p:txBody>
      </p:sp>
      <p:pic>
        <p:nvPicPr>
          <p:cNvPr id="6161" name="Рисунок 95">
            <a:extLst>
              <a:ext uri="{FF2B5EF4-FFF2-40B4-BE49-F238E27FC236}">
                <a16:creationId xmlns:a16="http://schemas.microsoft.com/office/drawing/2014/main" id="{0EF5CD4F-1178-4C3F-AFA6-077B840F1F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614" y="2726725"/>
            <a:ext cx="3429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62" name="Google Shape;252;p5">
            <a:extLst>
              <a:ext uri="{FF2B5EF4-FFF2-40B4-BE49-F238E27FC236}">
                <a16:creationId xmlns:a16="http://schemas.microsoft.com/office/drawing/2014/main" id="{53207209-0749-4527-B478-A173375729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74185" y="2928918"/>
            <a:ext cx="1539595" cy="400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5" tIns="45700" rIns="91425" bIns="4570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00" b="1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Посещение удаленных населенных пунктов</a:t>
            </a:r>
            <a:endParaRPr lang="ru-RU" altLang="ru-RU" sz="1000" dirty="0">
              <a:solidFill>
                <a:schemeClr val="accent5">
                  <a:lumMod val="50000"/>
                </a:schemeClr>
              </a:solidFill>
              <a:latin typeface="+mn-lt"/>
              <a:sym typeface="Arial" panose="020B0604020202020204" pitchFamily="34" charset="0"/>
            </a:endParaRPr>
          </a:p>
        </p:txBody>
      </p:sp>
      <p:sp>
        <p:nvSpPr>
          <p:cNvPr id="6165" name="Google Shape;252;p5">
            <a:extLst>
              <a:ext uri="{FF2B5EF4-FFF2-40B4-BE49-F238E27FC236}">
                <a16:creationId xmlns:a16="http://schemas.microsoft.com/office/drawing/2014/main" id="{CEA60444-2F84-4E03-BD39-3B9570C1A1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20284" y="1824872"/>
            <a:ext cx="1656667" cy="553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5" tIns="45700" rIns="91425" bIns="4570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00" dirty="0">
                <a:solidFill>
                  <a:schemeClr val="accent5">
                    <a:lumMod val="50000"/>
                  </a:schemeClr>
                </a:solidFill>
                <a:latin typeface="+mn-lt"/>
                <a:sym typeface="Arial" panose="020B0604020202020204" pitchFamily="34" charset="0"/>
              </a:rPr>
              <a:t>Мобильные центры занятости на базе автобусов</a:t>
            </a:r>
          </a:p>
        </p:txBody>
      </p:sp>
      <p:sp>
        <p:nvSpPr>
          <p:cNvPr id="6167" name="Google Shape;252;p5">
            <a:extLst>
              <a:ext uri="{FF2B5EF4-FFF2-40B4-BE49-F238E27FC236}">
                <a16:creationId xmlns:a16="http://schemas.microsoft.com/office/drawing/2014/main" id="{0A36242A-6957-40CB-99E8-0C0B52D47E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31104" y="1961325"/>
            <a:ext cx="1190625" cy="553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00" dirty="0">
                <a:solidFill>
                  <a:schemeClr val="accent5">
                    <a:lumMod val="50000"/>
                  </a:schemeClr>
                </a:solidFill>
                <a:latin typeface="+mn-lt"/>
                <a:sym typeface="Arial" panose="020B0604020202020204" pitchFamily="34" charset="0"/>
              </a:rPr>
              <a:t>Представительства в ЦОН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000" dirty="0">
              <a:solidFill>
                <a:schemeClr val="accent5">
                  <a:lumMod val="50000"/>
                </a:schemeClr>
              </a:solidFill>
              <a:latin typeface="+mn-lt"/>
              <a:sym typeface="Arial" panose="020B0604020202020204" pitchFamily="34" charset="0"/>
            </a:endParaRPr>
          </a:p>
        </p:txBody>
      </p:sp>
      <p:cxnSp>
        <p:nvCxnSpPr>
          <p:cNvPr id="89" name="Прямая соединительная линия 88">
            <a:extLst>
              <a:ext uri="{FF2B5EF4-FFF2-40B4-BE49-F238E27FC236}">
                <a16:creationId xmlns:a16="http://schemas.microsoft.com/office/drawing/2014/main" id="{D3D1BF11-0B01-4171-B691-A3291095675D}"/>
              </a:ext>
            </a:extLst>
          </p:cNvPr>
          <p:cNvCxnSpPr/>
          <p:nvPr/>
        </p:nvCxnSpPr>
        <p:spPr>
          <a:xfrm flipH="1">
            <a:off x="5713413" y="963613"/>
            <a:ext cx="0" cy="5580000"/>
          </a:xfrm>
          <a:prstGeom prst="line">
            <a:avLst/>
          </a:prstGeom>
          <a:ln w="28575">
            <a:solidFill>
              <a:srgbClr val="FFC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4" descr="Киоск icon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953" y="1587618"/>
            <a:ext cx="373707" cy="373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2" descr="Толпа icon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7434" y="2723074"/>
            <a:ext cx="389866" cy="389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292" name="Picture 4" descr="Ферма 2 icon"/>
          <p:cNvPicPr>
            <a:picLocks noChangeAspect="1" noChangeArrowheads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7167" y="2580518"/>
            <a:ext cx="384174" cy="384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1" name="Прямая со стрелкой 50">
            <a:extLst>
              <a:ext uri="{FF2B5EF4-FFF2-40B4-BE49-F238E27FC236}">
                <a16:creationId xmlns:a16="http://schemas.microsoft.com/office/drawing/2014/main" id="{BF759902-0061-4C3B-8FB7-439B26F4E05D}"/>
              </a:ext>
            </a:extLst>
          </p:cNvPr>
          <p:cNvCxnSpPr/>
          <p:nvPr/>
        </p:nvCxnSpPr>
        <p:spPr>
          <a:xfrm>
            <a:off x="5009574" y="2333899"/>
            <a:ext cx="1" cy="25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 стрелкой 66">
            <a:extLst>
              <a:ext uri="{FF2B5EF4-FFF2-40B4-BE49-F238E27FC236}">
                <a16:creationId xmlns:a16="http://schemas.microsoft.com/office/drawing/2014/main" id="{BF759902-0061-4C3B-8FB7-439B26F4E05D}"/>
              </a:ext>
            </a:extLst>
          </p:cNvPr>
          <p:cNvCxnSpPr/>
          <p:nvPr/>
        </p:nvCxnSpPr>
        <p:spPr>
          <a:xfrm>
            <a:off x="1888978" y="2438246"/>
            <a:ext cx="1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 стрелкой 67">
            <a:extLst>
              <a:ext uri="{FF2B5EF4-FFF2-40B4-BE49-F238E27FC236}">
                <a16:creationId xmlns:a16="http://schemas.microsoft.com/office/drawing/2014/main" id="{BF759902-0061-4C3B-8FB7-439B26F4E05D}"/>
              </a:ext>
            </a:extLst>
          </p:cNvPr>
          <p:cNvCxnSpPr/>
          <p:nvPr/>
        </p:nvCxnSpPr>
        <p:spPr>
          <a:xfrm>
            <a:off x="490064" y="2438246"/>
            <a:ext cx="1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490064" y="2438320"/>
            <a:ext cx="139891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1119277" y="2268040"/>
            <a:ext cx="0" cy="17373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1116806" y="1307782"/>
            <a:ext cx="39813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 стрелкой 77">
            <a:extLst>
              <a:ext uri="{FF2B5EF4-FFF2-40B4-BE49-F238E27FC236}">
                <a16:creationId xmlns:a16="http://schemas.microsoft.com/office/drawing/2014/main" id="{BF759902-0061-4C3B-8FB7-439B26F4E05D}"/>
              </a:ext>
            </a:extLst>
          </p:cNvPr>
          <p:cNvCxnSpPr/>
          <p:nvPr/>
        </p:nvCxnSpPr>
        <p:spPr>
          <a:xfrm>
            <a:off x="1116806" y="1307781"/>
            <a:ext cx="1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 стрелкой 78">
            <a:extLst>
              <a:ext uri="{FF2B5EF4-FFF2-40B4-BE49-F238E27FC236}">
                <a16:creationId xmlns:a16="http://schemas.microsoft.com/office/drawing/2014/main" id="{BF759902-0061-4C3B-8FB7-439B26F4E05D}"/>
              </a:ext>
            </a:extLst>
          </p:cNvPr>
          <p:cNvCxnSpPr/>
          <p:nvPr/>
        </p:nvCxnSpPr>
        <p:spPr>
          <a:xfrm>
            <a:off x="5098131" y="1306540"/>
            <a:ext cx="1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Группа 93"/>
          <p:cNvGrpSpPr/>
          <p:nvPr/>
        </p:nvGrpSpPr>
        <p:grpSpPr>
          <a:xfrm>
            <a:off x="-19050" y="4204450"/>
            <a:ext cx="2365054" cy="2137426"/>
            <a:chOff x="-171317" y="1444112"/>
            <a:chExt cx="5410169" cy="4982160"/>
          </a:xfrm>
        </p:grpSpPr>
        <p:grpSp>
          <p:nvGrpSpPr>
            <p:cNvPr id="95" name="Группа 94"/>
            <p:cNvGrpSpPr/>
            <p:nvPr/>
          </p:nvGrpSpPr>
          <p:grpSpPr>
            <a:xfrm>
              <a:off x="428967" y="2677471"/>
              <a:ext cx="3456383" cy="2457736"/>
              <a:chOff x="695400" y="874718"/>
              <a:chExt cx="4176464" cy="3760959"/>
            </a:xfrm>
            <a:blipFill>
              <a:blip r:embed="rId13"/>
              <a:stretch>
                <a:fillRect/>
              </a:stretch>
            </a:blipFill>
          </p:grpSpPr>
          <p:sp>
            <p:nvSpPr>
              <p:cNvPr id="107" name="Параллелограмм 106"/>
              <p:cNvSpPr/>
              <p:nvPr/>
            </p:nvSpPr>
            <p:spPr>
              <a:xfrm>
                <a:off x="695400" y="1323309"/>
                <a:ext cx="1296144" cy="3312368"/>
              </a:xfrm>
              <a:prstGeom prst="parallelogram">
                <a:avLst>
                  <a:gd name="adj" fmla="val 52925"/>
                </a:avLst>
              </a:prstGeom>
              <a:grpFill/>
              <a:ln w="127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5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08" name="Параллелограмм 107"/>
              <p:cNvSpPr/>
              <p:nvPr/>
            </p:nvSpPr>
            <p:spPr>
              <a:xfrm>
                <a:off x="1415480" y="1244274"/>
                <a:ext cx="1296144" cy="3312368"/>
              </a:xfrm>
              <a:prstGeom prst="parallelogram">
                <a:avLst>
                  <a:gd name="adj" fmla="val 52925"/>
                </a:avLst>
              </a:prstGeom>
              <a:grpFill/>
              <a:ln w="127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5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09" name="Параллелограмм 108"/>
              <p:cNvSpPr/>
              <p:nvPr/>
            </p:nvSpPr>
            <p:spPr>
              <a:xfrm>
                <a:off x="2135560" y="1066993"/>
                <a:ext cx="1296144" cy="3312367"/>
              </a:xfrm>
              <a:prstGeom prst="parallelogram">
                <a:avLst>
                  <a:gd name="adj" fmla="val 52925"/>
                </a:avLst>
              </a:prstGeom>
              <a:grpFill/>
              <a:ln w="127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5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10" name="Параллелограмм 109"/>
              <p:cNvSpPr/>
              <p:nvPr/>
            </p:nvSpPr>
            <p:spPr>
              <a:xfrm>
                <a:off x="2855640" y="970855"/>
                <a:ext cx="1296144" cy="3312367"/>
              </a:xfrm>
              <a:prstGeom prst="parallelogram">
                <a:avLst>
                  <a:gd name="adj" fmla="val 52925"/>
                </a:avLst>
              </a:prstGeom>
              <a:grpFill/>
              <a:ln w="127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5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11" name="Параллелограмм 110"/>
              <p:cNvSpPr/>
              <p:nvPr/>
            </p:nvSpPr>
            <p:spPr>
              <a:xfrm>
                <a:off x="3575720" y="874718"/>
                <a:ext cx="1296144" cy="3312368"/>
              </a:xfrm>
              <a:prstGeom prst="parallelogram">
                <a:avLst>
                  <a:gd name="adj" fmla="val 52925"/>
                </a:avLst>
              </a:prstGeom>
              <a:grpFill/>
              <a:ln w="127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5">
                      <a:lumMod val="50000"/>
                    </a:schemeClr>
                  </a:solidFill>
                </a:endParaRPr>
              </a:p>
            </p:txBody>
          </p:sp>
        </p:grpSp>
        <p:sp>
          <p:nvSpPr>
            <p:cNvPr id="96" name="Дуга 95"/>
            <p:cNvSpPr/>
            <p:nvPr/>
          </p:nvSpPr>
          <p:spPr>
            <a:xfrm rot="8335731">
              <a:off x="-171317" y="1462556"/>
              <a:ext cx="5079762" cy="4963716"/>
            </a:xfrm>
            <a:prstGeom prst="arc">
              <a:avLst>
                <a:gd name="adj1" fmla="val 4837450"/>
                <a:gd name="adj2" fmla="val 0"/>
              </a:avLst>
            </a:prstGeom>
            <a:ln w="12700">
              <a:solidFill>
                <a:schemeClr val="accent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  <p:grpSp>
          <p:nvGrpSpPr>
            <p:cNvPr id="97" name="Группа 96"/>
            <p:cNvGrpSpPr/>
            <p:nvPr/>
          </p:nvGrpSpPr>
          <p:grpSpPr>
            <a:xfrm>
              <a:off x="3419317" y="1444112"/>
              <a:ext cx="936104" cy="969289"/>
              <a:chOff x="3220583" y="1851150"/>
              <a:chExt cx="936104" cy="969289"/>
            </a:xfrm>
          </p:grpSpPr>
          <p:sp>
            <p:nvSpPr>
              <p:cNvPr id="104" name="Овал 103"/>
              <p:cNvSpPr/>
              <p:nvPr/>
            </p:nvSpPr>
            <p:spPr>
              <a:xfrm>
                <a:off x="3220583" y="1851150"/>
                <a:ext cx="936104" cy="969289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00346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5">
                      <a:lumMod val="50000"/>
                    </a:schemeClr>
                  </a:solidFill>
                </a:endParaRPr>
              </a:p>
            </p:txBody>
          </p:sp>
          <p:pic>
            <p:nvPicPr>
              <p:cNvPr id="106" name="Рисунок 105"/>
              <p:cNvPicPr>
                <a:picLocks noChangeAspect="1"/>
              </p:cNvPicPr>
              <p:nvPr/>
            </p:nvPicPr>
            <p:blipFill>
              <a:blip r:embed="rId14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09195" y="2029188"/>
                <a:ext cx="558881" cy="558881"/>
              </a:xfrm>
              <a:prstGeom prst="rect">
                <a:avLst/>
              </a:prstGeom>
              <a:ln w="12700">
                <a:noFill/>
              </a:ln>
            </p:spPr>
          </p:pic>
        </p:grpSp>
        <p:grpSp>
          <p:nvGrpSpPr>
            <p:cNvPr id="98" name="Группа 97"/>
            <p:cNvGrpSpPr/>
            <p:nvPr/>
          </p:nvGrpSpPr>
          <p:grpSpPr>
            <a:xfrm>
              <a:off x="4055780" y="4487428"/>
              <a:ext cx="936104" cy="969289"/>
              <a:chOff x="2943692" y="3327146"/>
              <a:chExt cx="936104" cy="969289"/>
            </a:xfrm>
          </p:grpSpPr>
          <p:sp>
            <p:nvSpPr>
              <p:cNvPr id="102" name="Овал 101"/>
              <p:cNvSpPr/>
              <p:nvPr/>
            </p:nvSpPr>
            <p:spPr>
              <a:xfrm>
                <a:off x="2943692" y="3327146"/>
                <a:ext cx="936104" cy="969289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00346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5">
                      <a:lumMod val="50000"/>
                    </a:schemeClr>
                  </a:solidFill>
                </a:endParaRPr>
              </a:p>
            </p:txBody>
          </p:sp>
          <p:pic>
            <p:nvPicPr>
              <p:cNvPr id="103" name="Graphic 17" descr="Open hand with plant">
                <a:extLst>
                  <a:ext uri="{FF2B5EF4-FFF2-40B4-BE49-F238E27FC236}">
                    <a16:creationId xmlns:a16="http://schemas.microsoft.com/office/drawing/2014/main" id="{606056CF-EF86-41B4-ADED-653BA2FDA6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3091703" y="3507636"/>
                <a:ext cx="640080" cy="640079"/>
              </a:xfrm>
              <a:prstGeom prst="rect">
                <a:avLst/>
              </a:prstGeom>
              <a:ln w="12700">
                <a:noFill/>
              </a:ln>
            </p:spPr>
          </p:pic>
        </p:grpSp>
        <p:grpSp>
          <p:nvGrpSpPr>
            <p:cNvPr id="99" name="Группа 98"/>
            <p:cNvGrpSpPr/>
            <p:nvPr/>
          </p:nvGrpSpPr>
          <p:grpSpPr>
            <a:xfrm>
              <a:off x="4302748" y="2728391"/>
              <a:ext cx="936104" cy="969289"/>
              <a:chOff x="3120529" y="1040042"/>
              <a:chExt cx="936104" cy="969289"/>
            </a:xfrm>
          </p:grpSpPr>
          <p:sp>
            <p:nvSpPr>
              <p:cNvPr id="100" name="Овал 99"/>
              <p:cNvSpPr/>
              <p:nvPr/>
            </p:nvSpPr>
            <p:spPr>
              <a:xfrm>
                <a:off x="3120529" y="1040042"/>
                <a:ext cx="936104" cy="969289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00346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accent5">
                      <a:lumMod val="50000"/>
                    </a:schemeClr>
                  </a:solidFill>
                </a:endParaRPr>
              </a:p>
            </p:txBody>
          </p:sp>
          <p:pic>
            <p:nvPicPr>
              <p:cNvPr id="101" name="Рисунок 100"/>
              <p:cNvPicPr>
                <a:picLocks noChangeAspect="1"/>
              </p:cNvPicPr>
              <p:nvPr/>
            </p:nvPicPr>
            <p:blipFill>
              <a:blip r:embed="rId14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10734" y="1248135"/>
                <a:ext cx="558881" cy="558882"/>
              </a:xfrm>
              <a:prstGeom prst="rect">
                <a:avLst/>
              </a:prstGeom>
              <a:ln w="12700">
                <a:noFill/>
              </a:ln>
            </p:spPr>
          </p:pic>
        </p:grpSp>
      </p:grpSp>
      <p:sp>
        <p:nvSpPr>
          <p:cNvPr id="112" name="Google Shape;252;p5">
            <a:extLst>
              <a:ext uri="{FF2B5EF4-FFF2-40B4-BE49-F238E27FC236}">
                <a16:creationId xmlns:a16="http://schemas.microsoft.com/office/drawing/2014/main" id="{F1F12825-E735-401B-B5E9-2371921BE0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78203" y="3676237"/>
            <a:ext cx="3417597" cy="261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5" tIns="45700" rIns="91425" bIns="4570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  <a:sym typeface="Arial" panose="020B0604020202020204" pitchFamily="34" charset="0"/>
              </a:rPr>
              <a:t>Методы взаимодействия с населением</a:t>
            </a:r>
          </a:p>
        </p:txBody>
      </p:sp>
      <p:grpSp>
        <p:nvGrpSpPr>
          <p:cNvPr id="113" name="Группа 112"/>
          <p:cNvGrpSpPr/>
          <p:nvPr/>
        </p:nvGrpSpPr>
        <p:grpSpPr>
          <a:xfrm>
            <a:off x="2021664" y="3969415"/>
            <a:ext cx="3804782" cy="782418"/>
            <a:chOff x="4439101" y="1587164"/>
            <a:chExt cx="5326409" cy="782418"/>
          </a:xfrm>
        </p:grpSpPr>
        <p:sp>
          <p:nvSpPr>
            <p:cNvPr id="114" name="Google Shape;411;p35"/>
            <p:cNvSpPr/>
            <p:nvPr/>
          </p:nvSpPr>
          <p:spPr>
            <a:xfrm>
              <a:off x="4439101" y="1587164"/>
              <a:ext cx="5326409" cy="246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25" tIns="45700" rIns="91425" bIns="45700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ru-RU" sz="1000" b="1" dirty="0" err="1">
                  <a:solidFill>
                    <a:schemeClr val="accent5">
                      <a:lumMod val="50000"/>
                    </a:schemeClr>
                  </a:solidFill>
                  <a:latin typeface="+mn-lt"/>
                  <a:sym typeface="Arial"/>
                </a:rPr>
                <a:t>Проактивное</a:t>
              </a:r>
              <a:r>
                <a:rPr lang="ru-RU" sz="1000" b="1" dirty="0">
                  <a:solidFill>
                    <a:schemeClr val="accent5">
                      <a:lumMod val="50000"/>
                    </a:schemeClr>
                  </a:solidFill>
                  <a:latin typeface="+mn-lt"/>
                  <a:sym typeface="Arial"/>
                </a:rPr>
                <a:t> оказание услуг</a:t>
              </a:r>
              <a:endParaRPr sz="1000" b="1" dirty="0">
                <a:solidFill>
                  <a:schemeClr val="accent5">
                    <a:lumMod val="50000"/>
                  </a:schemeClr>
                </a:solidFill>
                <a:latin typeface="+mn-lt"/>
                <a:sym typeface="Arial"/>
              </a:endParaRPr>
            </a:p>
          </p:txBody>
        </p:sp>
        <p:sp>
          <p:nvSpPr>
            <p:cNvPr id="115" name="Google Shape;411;p35"/>
            <p:cNvSpPr/>
            <p:nvPr/>
          </p:nvSpPr>
          <p:spPr>
            <a:xfrm>
              <a:off x="4439101" y="1795219"/>
              <a:ext cx="4572845" cy="57436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85725" indent="-85725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ru-RU" sz="1000" dirty="0">
                  <a:solidFill>
                    <a:schemeClr val="accent5">
                      <a:lumMod val="50000"/>
                    </a:schemeClr>
                  </a:solidFill>
                  <a:latin typeface="+mn-lt"/>
                  <a:sym typeface="Arial"/>
                </a:rPr>
                <a:t>Посещение общественных мест</a:t>
              </a:r>
            </a:p>
            <a:p>
              <a:pPr marL="85725" indent="-85725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ru-RU" sz="1000" dirty="0">
                  <a:solidFill>
                    <a:schemeClr val="accent5">
                      <a:lumMod val="50000"/>
                    </a:schemeClr>
                  </a:solidFill>
                  <a:latin typeface="+mn-lt"/>
                  <a:sym typeface="Arial"/>
                </a:rPr>
                <a:t>Представительства в акиматах, </a:t>
              </a:r>
              <a:r>
                <a:rPr lang="ru-RU" sz="1000" dirty="0" err="1">
                  <a:solidFill>
                    <a:schemeClr val="accent5">
                      <a:lumMod val="50000"/>
                    </a:schemeClr>
                  </a:solidFill>
                  <a:latin typeface="+mn-lt"/>
                  <a:sym typeface="Arial"/>
                </a:rPr>
                <a:t>ЦОНах</a:t>
              </a:r>
              <a:r>
                <a:rPr lang="ru-RU" sz="1000" dirty="0">
                  <a:solidFill>
                    <a:schemeClr val="accent5">
                      <a:lumMod val="50000"/>
                    </a:schemeClr>
                  </a:solidFill>
                  <a:latin typeface="+mn-lt"/>
                  <a:sym typeface="Arial"/>
                </a:rPr>
                <a:t>, домах матери, ВУЗы и колледжи, т.д.</a:t>
              </a:r>
              <a:endParaRPr sz="1000" dirty="0">
                <a:solidFill>
                  <a:schemeClr val="accent5">
                    <a:lumMod val="50000"/>
                  </a:schemeClr>
                </a:solidFill>
                <a:latin typeface="+mn-lt"/>
                <a:sym typeface="Arial"/>
              </a:endParaRPr>
            </a:p>
          </p:txBody>
        </p:sp>
      </p:grpSp>
      <p:grpSp>
        <p:nvGrpSpPr>
          <p:cNvPr id="116" name="Группа 115"/>
          <p:cNvGrpSpPr/>
          <p:nvPr/>
        </p:nvGrpSpPr>
        <p:grpSpPr>
          <a:xfrm>
            <a:off x="2421361" y="4714333"/>
            <a:ext cx="3593808" cy="720873"/>
            <a:chOff x="5480022" y="3403713"/>
            <a:chExt cx="2635131" cy="720873"/>
          </a:xfrm>
        </p:grpSpPr>
        <p:sp>
          <p:nvSpPr>
            <p:cNvPr id="117" name="Google Shape;411;p35"/>
            <p:cNvSpPr/>
            <p:nvPr/>
          </p:nvSpPr>
          <p:spPr>
            <a:xfrm>
              <a:off x="5480022" y="3552531"/>
              <a:ext cx="2635131" cy="57205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85725" marR="0" lvl="0" indent="-85725">
                <a:buFont typeface="Arial" panose="020B0604020202020204" pitchFamily="34" charset="0"/>
                <a:buChar char="•"/>
              </a:pPr>
              <a:r>
                <a:rPr lang="kk-KZ" sz="1000" dirty="0">
                  <a:solidFill>
                    <a:schemeClr val="accent5">
                      <a:lumMod val="50000"/>
                    </a:schemeClr>
                  </a:solidFill>
                  <a:latin typeface="+mn-lt"/>
                  <a:sym typeface="Arial"/>
                </a:rPr>
                <a:t>Консультация граждан в МЦЗ</a:t>
              </a:r>
            </a:p>
            <a:p>
              <a:pPr marL="85725" marR="0" lvl="0" indent="-85725">
                <a:buFont typeface="Arial" panose="020B0604020202020204" pitchFamily="34" charset="0"/>
                <a:buChar char="•"/>
              </a:pPr>
              <a:r>
                <a:rPr lang="kk-KZ" sz="1000" dirty="0">
                  <a:solidFill>
                    <a:schemeClr val="accent5">
                      <a:lumMod val="50000"/>
                    </a:schemeClr>
                  </a:solidFill>
                  <a:latin typeface="+mn-lt"/>
                  <a:sym typeface="Arial"/>
                </a:rPr>
                <a:t>Обзвон работодателей (вакансии и сотрудничество)</a:t>
              </a:r>
            </a:p>
            <a:p>
              <a:pPr marL="171450" marR="0" lvl="0" indent="-171450" rtl="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sz="1100" b="1" dirty="0">
                <a:solidFill>
                  <a:schemeClr val="accent5">
                    <a:lumMod val="50000"/>
                  </a:schemeClr>
                </a:solidFill>
                <a:latin typeface="+mn-lt"/>
                <a:ea typeface="Arial"/>
                <a:cs typeface="Arial"/>
                <a:sym typeface="Arial"/>
              </a:endParaRPr>
            </a:p>
          </p:txBody>
        </p:sp>
        <p:sp>
          <p:nvSpPr>
            <p:cNvPr id="118" name="Google Shape;411;p35"/>
            <p:cNvSpPr/>
            <p:nvPr/>
          </p:nvSpPr>
          <p:spPr>
            <a:xfrm>
              <a:off x="5522865" y="3403713"/>
              <a:ext cx="2592288" cy="46256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000" b="1" dirty="0">
                  <a:solidFill>
                    <a:schemeClr val="accent5">
                      <a:lumMod val="50000"/>
                    </a:schemeClr>
                  </a:solidFill>
                  <a:latin typeface="+mn-lt"/>
                  <a:sym typeface="Arial"/>
                </a:rPr>
                <a:t>Оказание услуг</a:t>
              </a:r>
              <a:endParaRPr sz="1000" b="1" dirty="0">
                <a:solidFill>
                  <a:schemeClr val="accent5">
                    <a:lumMod val="50000"/>
                  </a:schemeClr>
                </a:solidFill>
                <a:latin typeface="+mn-lt"/>
                <a:sym typeface="Arial"/>
              </a:endParaRPr>
            </a:p>
          </p:txBody>
        </p:sp>
      </p:grpSp>
      <p:sp>
        <p:nvSpPr>
          <p:cNvPr id="119" name="Google Shape;411;p35"/>
          <p:cNvSpPr/>
          <p:nvPr/>
        </p:nvSpPr>
        <p:spPr>
          <a:xfrm>
            <a:off x="2383812" y="5346955"/>
            <a:ext cx="3328366" cy="7383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000" b="1" dirty="0">
                <a:solidFill>
                  <a:schemeClr val="accent5">
                    <a:lumMod val="50000"/>
                  </a:schemeClr>
                </a:solidFill>
                <a:latin typeface="+mn-lt"/>
                <a:sym typeface="Arial"/>
              </a:rPr>
              <a:t>Представление </a:t>
            </a:r>
            <a:r>
              <a:rPr lang="ru-RU" sz="10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sym typeface="Arial"/>
              </a:rPr>
              <a:t>психол. помощи </a:t>
            </a:r>
            <a:r>
              <a:rPr lang="ru-RU" sz="1000" b="1" dirty="0">
                <a:solidFill>
                  <a:schemeClr val="accent5">
                    <a:lumMod val="50000"/>
                  </a:schemeClr>
                </a:solidFill>
                <a:latin typeface="+mn-lt"/>
                <a:sym typeface="Arial"/>
              </a:rPr>
              <a:t>и компетенций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+mn-lt"/>
                <a:sym typeface="Arial"/>
              </a:rPr>
              <a:t>Психологическая консультация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+mn-lt"/>
                <a:sym typeface="Arial"/>
              </a:rPr>
              <a:t>Тренинги, обучение </a:t>
            </a:r>
            <a:r>
              <a:rPr lang="en-US" sz="1000" dirty="0">
                <a:solidFill>
                  <a:schemeClr val="accent5">
                    <a:lumMod val="50000"/>
                  </a:schemeClr>
                </a:solidFill>
                <a:latin typeface="+mn-lt"/>
                <a:sym typeface="Arial"/>
              </a:rPr>
              <a:t>Soft skills </a:t>
            </a:r>
            <a:endParaRPr lang="ru-RU" sz="1000" dirty="0">
              <a:solidFill>
                <a:schemeClr val="accent5">
                  <a:lumMod val="50000"/>
                </a:schemeClr>
              </a:solidFill>
              <a:latin typeface="+mn-lt"/>
              <a:sym typeface="Arial"/>
            </a:endParaRP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+mn-lt"/>
                <a:sym typeface="Arial"/>
              </a:rPr>
              <a:t>Профориентация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+mn-lt"/>
                <a:sym typeface="Arial"/>
              </a:rPr>
              <a:t>Индивидуальные карты развития (ИКР)</a:t>
            </a:r>
          </a:p>
        </p:txBody>
      </p:sp>
      <p:sp>
        <p:nvSpPr>
          <p:cNvPr id="120" name="Овал 119"/>
          <p:cNvSpPr/>
          <p:nvPr/>
        </p:nvSpPr>
        <p:spPr>
          <a:xfrm>
            <a:off x="1455986" y="5951665"/>
            <a:ext cx="409218" cy="415840"/>
          </a:xfrm>
          <a:prstGeom prst="ellipse">
            <a:avLst/>
          </a:prstGeom>
          <a:solidFill>
            <a:schemeClr val="bg1"/>
          </a:solidFill>
          <a:ln w="12700">
            <a:solidFill>
              <a:srgbClr val="0034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6163" name="Рисунок 7">
            <a:extLst>
              <a:ext uri="{FF2B5EF4-FFF2-40B4-BE49-F238E27FC236}">
                <a16:creationId xmlns:a16="http://schemas.microsoft.com/office/drawing/2014/main" id="{18D5C97F-D8F8-4902-96BF-5543E1DCB6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7529" y="6036542"/>
            <a:ext cx="246085" cy="246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1" name="Google Shape;411;p35"/>
          <p:cNvSpPr/>
          <p:nvPr/>
        </p:nvSpPr>
        <p:spPr>
          <a:xfrm>
            <a:off x="1863199" y="6141320"/>
            <a:ext cx="3038474" cy="6127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R="0" lvl="0"/>
            <a:r>
              <a:rPr lang="ru-RU" sz="1000" b="1" dirty="0">
                <a:solidFill>
                  <a:schemeClr val="accent5">
                    <a:lumMod val="50000"/>
                  </a:schemeClr>
                </a:solidFill>
                <a:latin typeface="+mn-lt"/>
                <a:sym typeface="Arial"/>
              </a:rPr>
              <a:t>Информационная работа</a:t>
            </a:r>
          </a:p>
          <a:p>
            <a:pPr marL="85725" marR="0" lvl="0" indent="-85725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+mn-lt"/>
                <a:sym typeface="Arial"/>
              </a:rPr>
              <a:t>Работа в социальных сетях</a:t>
            </a:r>
          </a:p>
          <a:p>
            <a:pPr marL="85725" marR="0" lvl="0" indent="-85725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accent5">
                    <a:lumMod val="50000"/>
                  </a:schemeClr>
                </a:solidFill>
                <a:latin typeface="+mn-lt"/>
                <a:sym typeface="Arial"/>
              </a:rPr>
              <a:t>Поддержка обратной связи через мессенджеры</a:t>
            </a:r>
          </a:p>
        </p:txBody>
      </p:sp>
      <p:cxnSp>
        <p:nvCxnSpPr>
          <p:cNvPr id="122" name="Прямая соединительная линия 121">
            <a:extLst>
              <a:ext uri="{FF2B5EF4-FFF2-40B4-BE49-F238E27FC236}">
                <a16:creationId xmlns:a16="http://schemas.microsoft.com/office/drawing/2014/main" id="{D3D1BF11-0B01-4171-B691-A3291095675D}"/>
              </a:ext>
            </a:extLst>
          </p:cNvPr>
          <p:cNvCxnSpPr/>
          <p:nvPr/>
        </p:nvCxnSpPr>
        <p:spPr>
          <a:xfrm>
            <a:off x="114656" y="3539093"/>
            <a:ext cx="5573250" cy="4518"/>
          </a:xfrm>
          <a:prstGeom prst="line">
            <a:avLst/>
          </a:prstGeom>
          <a:ln w="28575">
            <a:solidFill>
              <a:srgbClr val="FFC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0302" name="Picture 14" descr="Консультация icon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8017" y="2618069"/>
            <a:ext cx="295866" cy="295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5" name="Google Shape;252;p5">
            <a:extLst>
              <a:ext uri="{FF2B5EF4-FFF2-40B4-BE49-F238E27FC236}">
                <a16:creationId xmlns:a16="http://schemas.microsoft.com/office/drawing/2014/main" id="{53207209-0749-4527-B478-A173375729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12837" y="2899320"/>
            <a:ext cx="1539595" cy="246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5" tIns="45700" rIns="91425" bIns="4570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00" b="1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Консультации</a:t>
            </a:r>
            <a:endParaRPr lang="ru-RU" altLang="ru-RU" sz="1000" dirty="0">
              <a:solidFill>
                <a:schemeClr val="accent5">
                  <a:lumMod val="50000"/>
                </a:schemeClr>
              </a:solidFill>
              <a:latin typeface="+mn-lt"/>
              <a:sym typeface="Arial" panose="020B0604020202020204" pitchFamily="34" charset="0"/>
            </a:endParaRPr>
          </a:p>
        </p:txBody>
      </p:sp>
      <p:cxnSp>
        <p:nvCxnSpPr>
          <p:cNvPr id="128" name="Прямая со стрелкой 127">
            <a:extLst>
              <a:ext uri="{FF2B5EF4-FFF2-40B4-BE49-F238E27FC236}">
                <a16:creationId xmlns:a16="http://schemas.microsoft.com/office/drawing/2014/main" id="{BF759902-0061-4C3B-8FB7-439B26F4E05D}"/>
              </a:ext>
            </a:extLst>
          </p:cNvPr>
          <p:cNvCxnSpPr/>
          <p:nvPr/>
        </p:nvCxnSpPr>
        <p:spPr>
          <a:xfrm>
            <a:off x="3165368" y="2314783"/>
            <a:ext cx="1" cy="252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Прямоугольник 68"/>
          <p:cNvSpPr/>
          <p:nvPr/>
        </p:nvSpPr>
        <p:spPr>
          <a:xfrm>
            <a:off x="5919993" y="3404826"/>
            <a:ext cx="6061513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ОХВАТ -</a:t>
            </a:r>
            <a:r>
              <a:rPr lang="ru-RU" sz="1400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3600" b="1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560,2</a:t>
            </a:r>
            <a:r>
              <a:rPr lang="ru-RU" sz="36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24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тыс</a:t>
            </a:r>
            <a:r>
              <a:rPr lang="ru-RU" sz="24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. чел</a:t>
            </a:r>
            <a:r>
              <a:rPr lang="ru-RU" sz="24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.</a:t>
            </a:r>
            <a:endParaRPr lang="ru-RU" sz="1400" dirty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algn="ctr"/>
            <a:endParaRPr lang="en-US" sz="3200" dirty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5993391" y="4190337"/>
            <a:ext cx="6283040" cy="23760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370,4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тыс. чел. - консультации</a:t>
            </a:r>
          </a:p>
          <a:p>
            <a:pPr marL="285750" indent="-285750" fontAlgn="base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105,8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тыс. чел. - психологическая консультация;</a:t>
            </a:r>
            <a:endParaRPr lang="en-US" dirty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marL="285750" indent="-285750" fontAlgn="base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31,7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тыс. чел. - на </a:t>
            </a:r>
            <a:r>
              <a:rPr lang="ru-RU" dirty="0" err="1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Бастау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;</a:t>
            </a:r>
            <a:endParaRPr lang="en-US" dirty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marL="285750" indent="-285750" fontAlgn="base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35,3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тыс. чел. - трудоустроены;</a:t>
            </a:r>
            <a:endParaRPr lang="en-US" dirty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marL="285750" indent="-285750" fontAlgn="base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16,9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тыс. чел. - краткосрочное профессиональное обучение и </a:t>
            </a:r>
            <a:r>
              <a:rPr lang="ru-RU" dirty="0" err="1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т.д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;</a:t>
            </a: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E1A8A70A-46AA-4FCE-A46E-4B45B5B1339C}"/>
              </a:ext>
            </a:extLst>
          </p:cNvPr>
          <p:cNvSpPr/>
          <p:nvPr/>
        </p:nvSpPr>
        <p:spPr>
          <a:xfrm>
            <a:off x="442913" y="224008"/>
            <a:ext cx="679698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altLang="ru-RU" sz="20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ПРОАКТИВНАЯ РАБОТА МОБИЛЬНЫХ ЦЕНТРОВ ЗАНЯТОСТИ</a:t>
            </a:r>
            <a:endParaRPr lang="en-US" altLang="ru-RU" sz="2000" b="1" dirty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id="{8E88E2E3-2C0D-4282-9D18-5B8F5F9606E1}"/>
              </a:ext>
            </a:extLst>
          </p:cNvPr>
          <p:cNvCxnSpPr>
            <a:cxnSpLocks/>
          </p:cNvCxnSpPr>
          <p:nvPr/>
        </p:nvCxnSpPr>
        <p:spPr>
          <a:xfrm flipV="1">
            <a:off x="307990" y="168510"/>
            <a:ext cx="0" cy="549762"/>
          </a:xfrm>
          <a:prstGeom prst="line">
            <a:avLst/>
          </a:prstGeom>
          <a:ln w="76200">
            <a:solidFill>
              <a:srgbClr val="D984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BE608798-2783-4F39-BF56-02BC0FA8FA84}"/>
              </a:ext>
            </a:extLst>
          </p:cNvPr>
          <p:cNvSpPr txBox="1"/>
          <p:nvPr/>
        </p:nvSpPr>
        <p:spPr>
          <a:xfrm>
            <a:off x="5926188" y="963650"/>
            <a:ext cx="2521030" cy="17902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000"/>
              </a:spcAft>
            </a:pPr>
            <a:r>
              <a:rPr lang="ru-RU" sz="1600" u="sng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В крупных городах и обл. центрах</a:t>
            </a:r>
          </a:p>
          <a:p>
            <a:pPr algn="ctr"/>
            <a:r>
              <a:rPr lang="ru-RU" sz="5400" b="1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84</a:t>
            </a:r>
          </a:p>
          <a:p>
            <a:pPr algn="ctr"/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МЦЗ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4E8D544F-8AC2-4801-AF8D-975F5F57D360}"/>
              </a:ext>
            </a:extLst>
          </p:cNvPr>
          <p:cNvSpPr txBox="1"/>
          <p:nvPr/>
        </p:nvSpPr>
        <p:spPr>
          <a:xfrm>
            <a:off x="8510022" y="968518"/>
            <a:ext cx="359999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u="sng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В районах </a:t>
            </a:r>
          </a:p>
          <a:p>
            <a:pPr algn="ctr"/>
            <a:r>
              <a:rPr lang="ru-RU" sz="1600" u="sng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и сельских округах:</a:t>
            </a:r>
            <a:endParaRPr lang="ru-RU" sz="1600" dirty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algn="ctr"/>
            <a:r>
              <a:rPr lang="ru-RU" sz="5400" b="1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36</a:t>
            </a:r>
          </a:p>
          <a:p>
            <a:pPr algn="ctr"/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микроавтобусов</a:t>
            </a:r>
          </a:p>
          <a:p>
            <a:pPr algn="ctr"/>
            <a:r>
              <a:rPr lang="ru-RU" sz="1400" i="1" dirty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(для профориентации, психологической помощь, рынка сбыта)</a:t>
            </a:r>
            <a:endParaRPr lang="ru-RU" sz="1600" i="1" dirty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75" name="Прямая соединительная линия 74">
            <a:extLst>
              <a:ext uri="{FF2B5EF4-FFF2-40B4-BE49-F238E27FC236}">
                <a16:creationId xmlns:a16="http://schemas.microsoft.com/office/drawing/2014/main" id="{05E6D2D9-4EAB-462B-8934-0E25D3443947}"/>
              </a:ext>
            </a:extLst>
          </p:cNvPr>
          <p:cNvCxnSpPr>
            <a:cxnSpLocks/>
          </p:cNvCxnSpPr>
          <p:nvPr/>
        </p:nvCxnSpPr>
        <p:spPr>
          <a:xfrm>
            <a:off x="5712178" y="3181971"/>
            <a:ext cx="6397839" cy="40447"/>
          </a:xfrm>
          <a:prstGeom prst="line">
            <a:avLst/>
          </a:prstGeom>
          <a:ln w="28575">
            <a:solidFill>
              <a:srgbClr val="FFC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 стрелкой 75">
            <a:extLst>
              <a:ext uri="{FF2B5EF4-FFF2-40B4-BE49-F238E27FC236}">
                <a16:creationId xmlns:a16="http://schemas.microsoft.com/office/drawing/2014/main" id="{BF759902-0061-4C3B-8FB7-439B26F4E05D}"/>
              </a:ext>
            </a:extLst>
          </p:cNvPr>
          <p:cNvCxnSpPr/>
          <p:nvPr/>
        </p:nvCxnSpPr>
        <p:spPr>
          <a:xfrm>
            <a:off x="3165367" y="1306540"/>
            <a:ext cx="1" cy="216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>
            <a:extLst>
              <a:ext uri="{FF2B5EF4-FFF2-40B4-BE49-F238E27FC236}">
                <a16:creationId xmlns:a16="http://schemas.microsoft.com/office/drawing/2014/main" id="{A4CBE7B0-D243-4EA5-9E6F-A92A218B7825}"/>
              </a:ext>
            </a:extLst>
          </p:cNvPr>
          <p:cNvCxnSpPr>
            <a:cxnSpLocks/>
          </p:cNvCxnSpPr>
          <p:nvPr/>
        </p:nvCxnSpPr>
        <p:spPr>
          <a:xfrm>
            <a:off x="363858" y="686522"/>
            <a:ext cx="10925175" cy="0"/>
          </a:xfrm>
          <a:prstGeom prst="line">
            <a:avLst/>
          </a:prstGeom>
          <a:ln>
            <a:solidFill>
              <a:srgbClr val="D984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8870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39265" y="1035050"/>
            <a:ext cx="9620250" cy="45935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61950" algn="just">
              <a:lnSpc>
                <a:spcPct val="150000"/>
              </a:lnSpc>
              <a:spcAft>
                <a:spcPts val="0"/>
              </a:spcAft>
            </a:pPr>
            <a:r>
              <a:rPr lang="ru-RU" b="1" dirty="0" smtClean="0">
                <a:solidFill>
                  <a:srgbClr val="002060"/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ПРЕДСТОИТ РАБОТА В ЧАСТИ: </a:t>
            </a:r>
          </a:p>
          <a:p>
            <a:pPr indent="361950" algn="just">
              <a:lnSpc>
                <a:spcPct val="150000"/>
              </a:lnSpc>
              <a:spcAft>
                <a:spcPts val="0"/>
              </a:spcAft>
            </a:pPr>
            <a:endParaRPr lang="ru-RU" sz="500" b="1" dirty="0" smtClean="0">
              <a:solidFill>
                <a:srgbClr val="002060"/>
              </a:solidFill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b="1" dirty="0">
                <a:solidFill>
                  <a:schemeClr val="accent4">
                    <a:lumMod val="75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Т</a:t>
            </a:r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рансформации </a:t>
            </a:r>
            <a:r>
              <a:rPr lang="ru-RU" b="1" dirty="0">
                <a:solidFill>
                  <a:schemeClr val="accent4">
                    <a:lumMod val="75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инструментов содействия занятости</a:t>
            </a:r>
            <a:r>
              <a:rPr lang="ru-RU" dirty="0">
                <a:solidFill>
                  <a:schemeClr val="accent4">
                    <a:lumMod val="75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rgbClr val="002060"/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– через </a:t>
            </a:r>
            <a:r>
              <a:rPr lang="ru-RU" dirty="0" smtClean="0">
                <a:solidFill>
                  <a:srgbClr val="002060"/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применение </a:t>
            </a:r>
            <a:r>
              <a:rPr lang="ru-RU" dirty="0" err="1">
                <a:solidFill>
                  <a:srgbClr val="002060"/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проактивного</a:t>
            </a:r>
            <a:r>
              <a:rPr lang="ru-RU" dirty="0">
                <a:solidFill>
                  <a:srgbClr val="002060"/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метода содействия занятости</a:t>
            </a:r>
            <a:r>
              <a:rPr lang="ru-RU" dirty="0" smtClean="0">
                <a:solidFill>
                  <a:srgbClr val="002060"/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;</a:t>
            </a: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ru-RU" sz="500" dirty="0">
              <a:solidFill>
                <a:srgbClr val="002060"/>
              </a:solidFill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Популяризации </a:t>
            </a:r>
            <a:r>
              <a:rPr lang="ru-RU" b="1" dirty="0">
                <a:solidFill>
                  <a:schemeClr val="accent4">
                    <a:lumMod val="75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рабочих профессий;</a:t>
            </a:r>
          </a:p>
          <a:p>
            <a:pPr lvl="0" algn="just">
              <a:lnSpc>
                <a:spcPct val="150000"/>
              </a:lnSpc>
              <a:spcAft>
                <a:spcPts val="0"/>
              </a:spcAft>
            </a:pPr>
            <a:endParaRPr lang="ru-RU" sz="500" dirty="0">
              <a:solidFill>
                <a:srgbClr val="002060"/>
              </a:solidFill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 algn="just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b="1" dirty="0">
                <a:solidFill>
                  <a:schemeClr val="accent4">
                    <a:lumMod val="75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Сопоставление двух методов (автоматизированный и опрос)</a:t>
            </a:r>
            <a:r>
              <a:rPr lang="ru-RU" dirty="0">
                <a:solidFill>
                  <a:schemeClr val="accent4">
                    <a:lumMod val="75000"/>
                  </a:schemeClr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rgbClr val="002060"/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позволят получать дополнительные данные от бизнеса и получать более точные данные по потребностям рынка </a:t>
            </a:r>
            <a:r>
              <a:rPr lang="ru-RU" dirty="0" smtClean="0">
                <a:solidFill>
                  <a:srgbClr val="002060"/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труда. Предлагаем</a:t>
            </a:r>
            <a:r>
              <a:rPr lang="ru-RU" dirty="0">
                <a:solidFill>
                  <a:srgbClr val="002060"/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чтобы Минтруда </a:t>
            </a:r>
            <a:r>
              <a:rPr lang="ru-RU" dirty="0" smtClean="0">
                <a:solidFill>
                  <a:srgbClr val="002060"/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наравне </a:t>
            </a:r>
            <a:r>
              <a:rPr lang="ru-RU" dirty="0">
                <a:solidFill>
                  <a:srgbClr val="002060"/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с построением прогноза по потребности в кадрах на базе информации полученной через платформу </a:t>
            </a:r>
            <a:r>
              <a:rPr lang="ru-RU" dirty="0" err="1">
                <a:solidFill>
                  <a:srgbClr val="002060"/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Енбек.кз</a:t>
            </a:r>
            <a:r>
              <a:rPr lang="ru-RU" dirty="0">
                <a:solidFill>
                  <a:srgbClr val="002060"/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так же проводил опросы субъектов предпринимательства по потребности в кадрах или опрос передавал на </a:t>
            </a:r>
            <a:r>
              <a:rPr lang="ru-RU" dirty="0" smtClean="0">
                <a:solidFill>
                  <a:srgbClr val="002060"/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аутсорсинг </a:t>
            </a:r>
            <a:r>
              <a:rPr lang="ru-RU" dirty="0">
                <a:solidFill>
                  <a:srgbClr val="002060"/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независимой </a:t>
            </a:r>
            <a:r>
              <a:rPr lang="ru-RU" dirty="0" smtClean="0">
                <a:solidFill>
                  <a:srgbClr val="002060"/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компании. </a:t>
            </a:r>
            <a:endParaRPr lang="ru-RU" dirty="0">
              <a:solidFill>
                <a:srgbClr val="002060"/>
              </a:solidFill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9A342FE-5C82-4F52-BF2B-CFF321963454}"/>
              </a:ext>
            </a:extLst>
          </p:cNvPr>
          <p:cNvSpPr txBox="1">
            <a:spLocks/>
          </p:cNvSpPr>
          <p:nvPr/>
        </p:nvSpPr>
        <p:spPr bwMode="auto">
          <a:xfrm>
            <a:off x="286803" y="169489"/>
            <a:ext cx="11743272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111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88"/>
              </a:spcBef>
              <a:buFontTx/>
              <a:buNone/>
              <a:defRPr/>
            </a:pPr>
            <a:r>
              <a:rPr lang="ru-RU" sz="2000" b="1" dirty="0" smtClean="0">
                <a:solidFill>
                  <a:schemeClr val="accent5">
                    <a:lumMod val="50000"/>
                  </a:schemeClr>
                </a:solidFill>
                <a:latin typeface="+mn-lt"/>
                <a:cs typeface="Arial" panose="020B0604020202020204" pitchFamily="34" charset="0"/>
                <a:sym typeface="Trebuchet MS" panose="020B0603020202020204" pitchFamily="34" charset="0"/>
              </a:rPr>
              <a:t>ПРЕДЛОЖЕНИЯ ПО СОВЕРШЕНСТВОВАНИЮ ИНСТРУМЕНТОВ СОДЕЙСТВИЯ ЗАНЯТОСТИ</a:t>
            </a:r>
            <a:endParaRPr lang="ru-RU" sz="2000" b="1" dirty="0">
              <a:solidFill>
                <a:schemeClr val="accent5">
                  <a:lumMod val="50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A4CBE7B0-D243-4EA5-9E6F-A92A218B7825}"/>
              </a:ext>
            </a:extLst>
          </p:cNvPr>
          <p:cNvCxnSpPr>
            <a:cxnSpLocks/>
          </p:cNvCxnSpPr>
          <p:nvPr/>
        </p:nvCxnSpPr>
        <p:spPr>
          <a:xfrm>
            <a:off x="286803" y="615950"/>
            <a:ext cx="10925175" cy="0"/>
          </a:xfrm>
          <a:prstGeom prst="line">
            <a:avLst/>
          </a:prstGeom>
          <a:ln>
            <a:solidFill>
              <a:srgbClr val="D984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8E88E2E3-2C0D-4282-9D18-5B8F5F9606E1}"/>
              </a:ext>
            </a:extLst>
          </p:cNvPr>
          <p:cNvCxnSpPr>
            <a:cxnSpLocks/>
          </p:cNvCxnSpPr>
          <p:nvPr/>
        </p:nvCxnSpPr>
        <p:spPr>
          <a:xfrm flipV="1">
            <a:off x="203215" y="66188"/>
            <a:ext cx="0" cy="549762"/>
          </a:xfrm>
          <a:prstGeom prst="line">
            <a:avLst/>
          </a:prstGeom>
          <a:ln w="76200">
            <a:solidFill>
              <a:srgbClr val="D984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0397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-11906" y="2205038"/>
            <a:ext cx="4654550" cy="2303462"/>
            <a:chOff x="-11906" y="2205038"/>
            <a:chExt cx="4654550" cy="2303462"/>
          </a:xfrm>
          <a:solidFill>
            <a:srgbClr val="203864"/>
          </a:solidFill>
        </p:grpSpPr>
        <p:sp>
          <p:nvSpPr>
            <p:cNvPr id="2" name="Прямоугольник 1"/>
            <p:cNvSpPr/>
            <p:nvPr/>
          </p:nvSpPr>
          <p:spPr>
            <a:xfrm>
              <a:off x="-11906" y="2205038"/>
              <a:ext cx="4654550" cy="2303462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6867" name="Прямоугольник 6"/>
            <p:cNvSpPr>
              <a:spLocks noChangeArrowheads="1"/>
            </p:cNvSpPr>
            <p:nvPr/>
          </p:nvSpPr>
          <p:spPr bwMode="auto">
            <a:xfrm>
              <a:off x="335757" y="2781300"/>
              <a:ext cx="3960812" cy="10922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defRPr/>
              </a:pPr>
              <a:r>
                <a:rPr lang="ru-RU" altLang="ru-RU" dirty="0">
                  <a:solidFill>
                    <a:srgbClr val="F2F2F2"/>
                  </a:solidFill>
                  <a:latin typeface="PlumbKaz"/>
                </a:rPr>
                <a:t>БЛАГОДАРИМ ЗА ВНИМАНИЕ!</a:t>
              </a:r>
            </a:p>
            <a:p>
              <a:pPr>
                <a:defRPr/>
              </a:pPr>
              <a:endParaRPr lang="ru-RU" altLang="ru-RU" dirty="0">
                <a:solidFill>
                  <a:srgbClr val="F2F2F2"/>
                </a:solidFill>
                <a:latin typeface="PlumbKaz"/>
              </a:endParaRPr>
            </a:p>
            <a:p>
              <a:pPr>
                <a:defRPr/>
              </a:pPr>
              <a:endParaRPr lang="ru-RU" altLang="ru-RU" dirty="0">
                <a:solidFill>
                  <a:srgbClr val="F2F2F2"/>
                </a:solidFill>
                <a:latin typeface="PlumbKaz"/>
              </a:endParaRPr>
            </a:p>
            <a:p>
              <a:pPr>
                <a:defRPr/>
              </a:pPr>
              <a:r>
                <a:rPr lang="en-US" altLang="ru-RU" sz="1050" dirty="0">
                  <a:solidFill>
                    <a:srgbClr val="F2F2F2"/>
                  </a:solidFill>
                  <a:latin typeface="PlumbKaz"/>
                </a:rPr>
                <a:t>www.atameken.kz</a:t>
              </a:r>
              <a:endParaRPr lang="ru-RU" altLang="ru-RU" sz="1050" dirty="0">
                <a:solidFill>
                  <a:srgbClr val="F2F2F2"/>
                </a:solidFill>
                <a:latin typeface="PlumbKaz"/>
              </a:endParaRPr>
            </a:p>
          </p:txBody>
        </p:sp>
      </p:grpSp>
      <p:pic>
        <p:nvPicPr>
          <p:cNvPr id="47108" name="Изображение 7" descr="qr-code.gi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46632" y="5894389"/>
            <a:ext cx="882650" cy="808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109" name="TextBox 1"/>
          <p:cNvSpPr txBox="1">
            <a:spLocks noChangeArrowheads="1"/>
          </p:cNvSpPr>
          <p:nvPr/>
        </p:nvSpPr>
        <p:spPr bwMode="auto">
          <a:xfrm>
            <a:off x="795" y="6564313"/>
            <a:ext cx="641874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100" b="1" dirty="0">
                <a:solidFill>
                  <a:srgbClr val="002060"/>
                </a:solidFill>
                <a:cs typeface="Arial" panose="020B0604020202020204" pitchFamily="34" charset="0"/>
              </a:rPr>
              <a:t>© </a:t>
            </a:r>
            <a:r>
              <a:rPr lang="en-US" altLang="ru-RU" sz="1100" b="1" dirty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altLang="ru-RU" sz="1100" b="1" dirty="0">
                <a:solidFill>
                  <a:srgbClr val="002060"/>
                </a:solidFill>
                <a:cs typeface="Arial" panose="020B0604020202020204" pitchFamily="34" charset="0"/>
              </a:rPr>
              <a:t>Национальная Палата Предпринимателей Республики Казахстана «</a:t>
            </a:r>
            <a:r>
              <a:rPr lang="ru-RU" altLang="ru-RU" sz="1100" b="1" dirty="0" err="1">
                <a:solidFill>
                  <a:srgbClr val="002060"/>
                </a:solidFill>
                <a:cs typeface="Arial" panose="020B0604020202020204" pitchFamily="34" charset="0"/>
              </a:rPr>
              <a:t>Атамекен</a:t>
            </a:r>
            <a:r>
              <a:rPr lang="ru-RU" altLang="ru-RU" sz="1100" b="1" dirty="0">
                <a:solidFill>
                  <a:srgbClr val="002060"/>
                </a:solidFill>
                <a:cs typeface="Arial" panose="020B0604020202020204" pitchFamily="34" charset="0"/>
              </a:rPr>
              <a:t>»</a:t>
            </a:r>
            <a:r>
              <a:rPr lang="en-US" altLang="ru-RU" sz="1100" b="1" dirty="0">
                <a:solidFill>
                  <a:srgbClr val="002060"/>
                </a:solidFill>
                <a:cs typeface="Arial" panose="020B0604020202020204" pitchFamily="34" charset="0"/>
              </a:rPr>
              <a:t>,</a:t>
            </a:r>
            <a:r>
              <a:rPr lang="ru-RU" altLang="ru-RU" sz="1100" b="1" dirty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altLang="ru-RU" sz="1100" b="1" dirty="0" smtClean="0">
                <a:solidFill>
                  <a:srgbClr val="002060"/>
                </a:solidFill>
                <a:cs typeface="Arial" panose="020B0604020202020204" pitchFamily="34" charset="0"/>
              </a:rPr>
              <a:t>2021</a:t>
            </a:r>
            <a:r>
              <a:rPr lang="en-US" altLang="ru-RU" sz="1100" b="1" dirty="0" smtClean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altLang="ru-RU" sz="1100" b="1" dirty="0">
                <a:solidFill>
                  <a:srgbClr val="002060"/>
                </a:solidFill>
                <a:cs typeface="Arial" panose="020B0604020202020204" pitchFamily="34" charset="0"/>
              </a:rPr>
              <a:t>г.</a:t>
            </a:r>
          </a:p>
        </p:txBody>
      </p:sp>
    </p:spTree>
    <p:extLst>
      <p:ext uri="{BB962C8B-B14F-4D97-AF65-F5344CB8AC3E}">
        <p14:creationId xmlns:p14="http://schemas.microsoft.com/office/powerpoint/2010/main" val="1013377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798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3.41579511000000080045E+00&quot;&gt;&lt;m_msothmcolidx val=&quot;0&quot;/&gt;&lt;m_rgb r=&quot;3E&quot; g=&quot;C1&quot; b=&quot;80&quot;/&gt;&lt;/elem&gt;&lt;elem m_fUsage=&quot;1.00000000000000000000E+00&quot;&gt;&lt;m_msothmcolidx val=&quot;0&quot;/&gt;&lt;m_rgb r=&quot;03&quot; g=&quot;96&quot; b=&quot;AC&quot;/&gt;&lt;/elem&gt;&lt;elem m_fUsage=&quot;9.00000000000000022204E-01&quot;&gt;&lt;m_msothmcolidx val=&quot;0&quot;/&gt;&lt;m_rgb r=&quot;6E&quot; g=&quot;C2&quot; b=&quot;E0&quot;/&gt;&lt;/elem&gt;&lt;elem m_fUsage=&quot;8.10000000000000053291E-01&quot;&gt;&lt;m_msothmcolidx val=&quot;0&quot;/&gt;&lt;m_rgb r=&quot;24&quot; g=&quot;88&quot; b=&quot;A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ezCJKOJGWZNUr6k1u7z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VjYbofqC1G7FHwS38Sh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HtDkRNdm3LedJNTFTbP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F4dgkbpNI8t91ewKKgh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hTG.zrnmyhLRSwYNNwo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xUO2ZNf_k_ZL.Jg1Dz9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HtDkRNdm3LedJNTFTbP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F4dgkbpNI8t91ewKKgh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HtDkRNdm3LedJNTFTbP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F4dgkbpNI8t91ewKKgh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hTG.zrnmyhLRSwYNNwo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hTG.zrnmyhLRSwYNNwo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HPxAkhsb9b.yU4Hr9mN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HPxAkhsb9b.yU4Hr9mN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HPxAkhsb9b.yU4Hr9mN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Z Labor Market Vision 2025 Grid A4">
  <a:themeElements>
    <a:clrScheme name="Custom 5">
      <a:dk1>
        <a:srgbClr val="545454"/>
      </a:dk1>
      <a:lt1>
        <a:sysClr val="window" lastClr="FFFFFF"/>
      </a:lt1>
      <a:dk2>
        <a:srgbClr val="295E7E"/>
      </a:dk2>
      <a:lt2>
        <a:srgbClr val="F2F2F2"/>
      </a:lt2>
      <a:accent1>
        <a:srgbClr val="163142"/>
      </a:accent1>
      <a:accent2>
        <a:srgbClr val="204962"/>
      </a:accent2>
      <a:accent3>
        <a:srgbClr val="D4DF33"/>
      </a:accent3>
      <a:accent4>
        <a:srgbClr val="4E98C6"/>
      </a:accent4>
      <a:accent5>
        <a:srgbClr val="6E6F73"/>
      </a:accent5>
      <a:accent6>
        <a:srgbClr val="2E3558"/>
      </a:accent6>
      <a:hlink>
        <a:srgbClr val="071117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5E7E"/>
        </a:solidFill>
        <a:ln w="9525" cap="rnd" cmpd="sng" algn="ctr">
          <a:solidFill>
            <a:srgbClr val="295E7E"/>
          </a:solidFill>
          <a:prstDash val="solid"/>
          <a:round/>
          <a:headEnd type="none" w="med" len="med"/>
          <a:tailEnd type="none" w="med" len="med"/>
        </a:ln>
      </a:spPr>
      <a:bodyPr rtlCol="0" anchor="ctr" anchorCtr="0"/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wrap="square" lIns="0" tIns="0" rIns="0" bIns="0" rtlCol="0" anchor="ctr" anchorCtr="0">
        <a:noAutofit/>
      </a:bodyPr>
      <a:lstStyle>
        <a:defPPr algn="ctr">
          <a:defRPr sz="1200" dirty="0" smtClean="0">
            <a:solidFill>
              <a:srgbClr val="545454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3.xml><?xml version="1.0" encoding="utf-8"?>
<a:theme xmlns:a="http://schemas.openxmlformats.org/drawingml/2006/main" name="1_KZ Labor Market Vision 2025 Grid A4">
  <a:themeElements>
    <a:clrScheme name="Custom 5">
      <a:dk1>
        <a:srgbClr val="545454"/>
      </a:dk1>
      <a:lt1>
        <a:sysClr val="window" lastClr="FFFFFF"/>
      </a:lt1>
      <a:dk2>
        <a:srgbClr val="295E7E"/>
      </a:dk2>
      <a:lt2>
        <a:srgbClr val="F2F2F2"/>
      </a:lt2>
      <a:accent1>
        <a:srgbClr val="163142"/>
      </a:accent1>
      <a:accent2>
        <a:srgbClr val="204962"/>
      </a:accent2>
      <a:accent3>
        <a:srgbClr val="D4DF33"/>
      </a:accent3>
      <a:accent4>
        <a:srgbClr val="4E98C6"/>
      </a:accent4>
      <a:accent5>
        <a:srgbClr val="6E6F73"/>
      </a:accent5>
      <a:accent6>
        <a:srgbClr val="2E3558"/>
      </a:accent6>
      <a:hlink>
        <a:srgbClr val="071117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5E7E"/>
        </a:solidFill>
        <a:ln w="9525" cap="rnd" cmpd="sng" algn="ctr">
          <a:solidFill>
            <a:srgbClr val="295E7E"/>
          </a:solidFill>
          <a:prstDash val="solid"/>
          <a:round/>
          <a:headEnd type="none" w="med" len="med"/>
          <a:tailEnd type="none" w="med" len="med"/>
        </a:ln>
      </a:spPr>
      <a:bodyPr rtlCol="0" anchor="ctr" anchorCtr="0"/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wrap="square" lIns="0" tIns="0" rIns="0" bIns="0" rtlCol="0" anchor="ctr" anchorCtr="0">
        <a:noAutofit/>
      </a:bodyPr>
      <a:lstStyle>
        <a:defPPr algn="ctr">
          <a:defRPr sz="1200" dirty="0" smtClean="0">
            <a:solidFill>
              <a:srgbClr val="545454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4.xml><?xml version="1.0" encoding="utf-8"?>
<a:theme xmlns:a="http://schemas.openxmlformats.org/drawingml/2006/main" name="2_KZ Labor Market Vision 2025 Grid A4">
  <a:themeElements>
    <a:clrScheme name="Custom 5">
      <a:dk1>
        <a:srgbClr val="545454"/>
      </a:dk1>
      <a:lt1>
        <a:sysClr val="window" lastClr="FFFFFF"/>
      </a:lt1>
      <a:dk2>
        <a:srgbClr val="295E7E"/>
      </a:dk2>
      <a:lt2>
        <a:srgbClr val="F2F2F2"/>
      </a:lt2>
      <a:accent1>
        <a:srgbClr val="163142"/>
      </a:accent1>
      <a:accent2>
        <a:srgbClr val="204962"/>
      </a:accent2>
      <a:accent3>
        <a:srgbClr val="D4DF33"/>
      </a:accent3>
      <a:accent4>
        <a:srgbClr val="4E98C6"/>
      </a:accent4>
      <a:accent5>
        <a:srgbClr val="6E6F73"/>
      </a:accent5>
      <a:accent6>
        <a:srgbClr val="2E3558"/>
      </a:accent6>
      <a:hlink>
        <a:srgbClr val="071117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5E7E"/>
        </a:solidFill>
        <a:ln w="9525" cap="rnd" cmpd="sng" algn="ctr">
          <a:solidFill>
            <a:srgbClr val="295E7E"/>
          </a:solidFill>
          <a:prstDash val="solid"/>
          <a:round/>
          <a:headEnd type="none" w="med" len="med"/>
          <a:tailEnd type="none" w="med" len="med"/>
        </a:ln>
      </a:spPr>
      <a:bodyPr rtlCol="0" anchor="ctr" anchorCtr="0"/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wrap="square" lIns="0" tIns="0" rIns="0" bIns="0" rtlCol="0" anchor="ctr" anchorCtr="0">
        <a:noAutofit/>
      </a:bodyPr>
      <a:lstStyle>
        <a:defPPr algn="ctr">
          <a:defRPr sz="1200" dirty="0" smtClean="0">
            <a:solidFill>
              <a:srgbClr val="545454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5.xml><?xml version="1.0" encoding="utf-8"?>
<a:theme xmlns:a="http://schemas.openxmlformats.org/drawingml/2006/main" name="3_KZ Labor Market Vision 2025 Grid A4">
  <a:themeElements>
    <a:clrScheme name="Custom 5">
      <a:dk1>
        <a:srgbClr val="545454"/>
      </a:dk1>
      <a:lt1>
        <a:sysClr val="window" lastClr="FFFFFF"/>
      </a:lt1>
      <a:dk2>
        <a:srgbClr val="295E7E"/>
      </a:dk2>
      <a:lt2>
        <a:srgbClr val="F2F2F2"/>
      </a:lt2>
      <a:accent1>
        <a:srgbClr val="163142"/>
      </a:accent1>
      <a:accent2>
        <a:srgbClr val="204962"/>
      </a:accent2>
      <a:accent3>
        <a:srgbClr val="D4DF33"/>
      </a:accent3>
      <a:accent4>
        <a:srgbClr val="4E98C6"/>
      </a:accent4>
      <a:accent5>
        <a:srgbClr val="6E6F73"/>
      </a:accent5>
      <a:accent6>
        <a:srgbClr val="2E3558"/>
      </a:accent6>
      <a:hlink>
        <a:srgbClr val="071117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5E7E"/>
        </a:solidFill>
        <a:ln w="9525" cap="rnd" cmpd="sng" algn="ctr">
          <a:solidFill>
            <a:srgbClr val="295E7E"/>
          </a:solidFill>
          <a:prstDash val="solid"/>
          <a:round/>
          <a:headEnd type="none" w="med" len="med"/>
          <a:tailEnd type="none" w="med" len="med"/>
        </a:ln>
      </a:spPr>
      <a:bodyPr rtlCol="0" anchor="ctr" anchorCtr="0"/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wrap="square" lIns="0" tIns="0" rIns="0" bIns="0" rtlCol="0" anchor="ctr" anchorCtr="0">
        <a:noAutofit/>
      </a:bodyPr>
      <a:lstStyle>
        <a:defPPr algn="ctr">
          <a:defRPr sz="1200" dirty="0" smtClean="0">
            <a:solidFill>
              <a:srgbClr val="545454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6.xml><?xml version="1.0" encoding="utf-8"?>
<a:theme xmlns:a="http://schemas.openxmlformats.org/drawingml/2006/main" name="4_KZ Labor Market Vision 2025 Grid A4">
  <a:themeElements>
    <a:clrScheme name="Custom 5">
      <a:dk1>
        <a:srgbClr val="545454"/>
      </a:dk1>
      <a:lt1>
        <a:sysClr val="window" lastClr="FFFFFF"/>
      </a:lt1>
      <a:dk2>
        <a:srgbClr val="295E7E"/>
      </a:dk2>
      <a:lt2>
        <a:srgbClr val="F2F2F2"/>
      </a:lt2>
      <a:accent1>
        <a:srgbClr val="163142"/>
      </a:accent1>
      <a:accent2>
        <a:srgbClr val="204962"/>
      </a:accent2>
      <a:accent3>
        <a:srgbClr val="D4DF33"/>
      </a:accent3>
      <a:accent4>
        <a:srgbClr val="4E98C6"/>
      </a:accent4>
      <a:accent5>
        <a:srgbClr val="6E6F73"/>
      </a:accent5>
      <a:accent6>
        <a:srgbClr val="2E3558"/>
      </a:accent6>
      <a:hlink>
        <a:srgbClr val="071117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5E7E"/>
        </a:solidFill>
        <a:ln w="9525" cap="rnd" cmpd="sng" algn="ctr">
          <a:solidFill>
            <a:srgbClr val="295E7E"/>
          </a:solidFill>
          <a:prstDash val="solid"/>
          <a:round/>
          <a:headEnd type="none" w="med" len="med"/>
          <a:tailEnd type="none" w="med" len="med"/>
        </a:ln>
      </a:spPr>
      <a:bodyPr rtlCol="0" anchor="ctr" anchorCtr="0"/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wrap="square" lIns="0" tIns="0" rIns="0" bIns="0" rtlCol="0" anchor="ctr" anchorCtr="0">
        <a:noAutofit/>
      </a:bodyPr>
      <a:lstStyle>
        <a:defPPr algn="ctr">
          <a:defRPr sz="1200" dirty="0" smtClean="0">
            <a:solidFill>
              <a:srgbClr val="545454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337</TotalTime>
  <Words>934</Words>
  <Application>Microsoft Office PowerPoint</Application>
  <PresentationFormat>Широкоэкранный</PresentationFormat>
  <Paragraphs>210</Paragraphs>
  <Slides>8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8</vt:i4>
      </vt:variant>
    </vt:vector>
  </HeadingPairs>
  <TitlesOfParts>
    <vt:vector size="24" baseType="lpstr">
      <vt:lpstr>Arial</vt:lpstr>
      <vt:lpstr>Arial Narrow</vt:lpstr>
      <vt:lpstr>Calibri</vt:lpstr>
      <vt:lpstr>Calibri Light</vt:lpstr>
      <vt:lpstr>PlumbKaz</vt:lpstr>
      <vt:lpstr>Times New Roman</vt:lpstr>
      <vt:lpstr>Trebuchet MS</vt:lpstr>
      <vt:lpstr>Wingdings</vt:lpstr>
      <vt:lpstr>Тема Office</vt:lpstr>
      <vt:lpstr>KZ Labor Market Vision 2025 Grid A4</vt:lpstr>
      <vt:lpstr>1_KZ Labor Market Vision 2025 Grid A4</vt:lpstr>
      <vt:lpstr>2_KZ Labor Market Vision 2025 Grid A4</vt:lpstr>
      <vt:lpstr>3_KZ Labor Market Vision 2025 Grid A4</vt:lpstr>
      <vt:lpstr>4_KZ Labor Market Vision 2025 Grid A4</vt:lpstr>
      <vt:lpstr>Слайд think-cell</vt:lpstr>
      <vt:lpstr>think-cell Slide</vt:lpstr>
      <vt:lpstr>Презентация PowerPoint</vt:lpstr>
      <vt:lpstr>Презентация PowerPoint</vt:lpstr>
      <vt:lpstr>ПСИХОЛОГИЧЕСКАЯ ПОМОЩЬ НАСЕЛЕНИЮ И ПРОФОРИЕНТАЦИОННАЯ РАБОТА ЗА 2019 - 2020 ГОДЫ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ветлана Б.Омарова</dc:creator>
  <cp:lastModifiedBy>Коренев Сергей Юрьевич</cp:lastModifiedBy>
  <cp:revision>2463</cp:revision>
  <cp:lastPrinted>2021-05-24T12:02:31Z</cp:lastPrinted>
  <dcterms:created xsi:type="dcterms:W3CDTF">2019-06-12T15:43:40Z</dcterms:created>
  <dcterms:modified xsi:type="dcterms:W3CDTF">2021-05-25T11:40:50Z</dcterms:modified>
</cp:coreProperties>
</file>